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35"/>
  </p:notesMasterIdLst>
  <p:handoutMasterIdLst>
    <p:handoutMasterId r:id="rId36"/>
  </p:handoutMasterIdLst>
  <p:sldIdLst>
    <p:sldId id="382" r:id="rId5"/>
    <p:sldId id="385" r:id="rId6"/>
    <p:sldId id="386" r:id="rId7"/>
    <p:sldId id="387" r:id="rId8"/>
    <p:sldId id="384" r:id="rId9"/>
    <p:sldId id="388" r:id="rId10"/>
    <p:sldId id="390" r:id="rId11"/>
    <p:sldId id="389" r:id="rId12"/>
    <p:sldId id="395" r:id="rId13"/>
    <p:sldId id="396" r:id="rId14"/>
    <p:sldId id="394" r:id="rId15"/>
    <p:sldId id="397" r:id="rId16"/>
    <p:sldId id="393" r:id="rId17"/>
    <p:sldId id="399" r:id="rId18"/>
    <p:sldId id="400" r:id="rId19"/>
    <p:sldId id="408" r:id="rId20"/>
    <p:sldId id="409" r:id="rId21"/>
    <p:sldId id="407" r:id="rId22"/>
    <p:sldId id="406" r:id="rId23"/>
    <p:sldId id="405" r:id="rId24"/>
    <p:sldId id="404" r:id="rId25"/>
    <p:sldId id="403" r:id="rId26"/>
    <p:sldId id="402" r:id="rId27"/>
    <p:sldId id="401" r:id="rId28"/>
    <p:sldId id="392" r:id="rId29"/>
    <p:sldId id="398" r:id="rId30"/>
    <p:sldId id="412" r:id="rId31"/>
    <p:sldId id="410" r:id="rId32"/>
    <p:sldId id="391" r:id="rId33"/>
    <p:sldId id="336" r:id="rId34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37"/>
      <p:bold r:id="rId38"/>
      <p:italic r:id="rId39"/>
      <p:boldItalic r:id="rId40"/>
    </p:embeddedFont>
    <p:embeddedFont>
      <p:font typeface="Futura Bk" panose="020B0502020204020303" charset="0"/>
      <p:regular r:id="rId41"/>
      <p:bold r:id="rId42"/>
      <p:italic r:id="rId43"/>
    </p:embeddedFont>
    <p:embeddedFont>
      <p:font typeface="Lucida Grande" panose="020B0604020202020204" charset="0"/>
      <p:regular r:id="rId44"/>
      <p:bold r:id="rId45"/>
      <p:italic r:id="rId46"/>
      <p:boldItalic r:id="rId47"/>
    </p:embeddedFont>
    <p:embeddedFont>
      <p:font typeface="Futura Hv" panose="020B0702020204020204" charset="0"/>
      <p:regular r:id="rId48"/>
    </p:embeddedFont>
    <p:embeddedFont>
      <p:font typeface="HP Simplified" panose="020B0604020202020204" charset="0"/>
      <p:regular r:id="rId49"/>
      <p:bold r:id="rId50"/>
      <p:italic r:id="rId51"/>
      <p:boldItalic r:id="rId52"/>
    </p:embeddedFont>
    <p:embeddedFont>
      <p:font typeface="Tahoma" panose="020B0604030504040204" pitchFamily="34" charset="0"/>
      <p:regular r:id="rId53"/>
      <p:bold r:id="rId54"/>
    </p:embeddedFont>
  </p:embeddedFontLst>
  <p:custDataLst>
    <p:tags r:id="rId5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56" userDrawn="1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68" userDrawn="1">
          <p15:clr>
            <a:srgbClr val="A4A3A4"/>
          </p15:clr>
        </p15:guide>
        <p15:guide id="6" orient="horz" pos="2220" userDrawn="1">
          <p15:clr>
            <a:srgbClr val="A4A3A4"/>
          </p15:clr>
        </p15:guide>
        <p15:guide id="7" orient="horz" pos="132" userDrawn="1">
          <p15:clr>
            <a:srgbClr val="A4A3A4"/>
          </p15:clr>
        </p15:guide>
        <p15:guide id="8" orient="horz" pos="2412" userDrawn="1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80" userDrawn="1">
          <p15:clr>
            <a:srgbClr val="A4A3A4"/>
          </p15:clr>
        </p15:guide>
        <p15:guide id="15" pos="3576" userDrawn="1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C1FF"/>
    <a:srgbClr val="0C559A"/>
    <a:srgbClr val="1A5D9D"/>
    <a:srgbClr val="0D5297"/>
    <a:srgbClr val="00A4EE"/>
    <a:srgbClr val="01B0FF"/>
    <a:srgbClr val="1098D2"/>
    <a:srgbClr val="FAAF3A"/>
    <a:srgbClr val="FFFFFF"/>
    <a:srgbClr val="F3F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97" autoAdjust="0"/>
    <p:restoredTop sz="82437" autoAdjust="0"/>
  </p:normalViewPr>
  <p:slideViewPr>
    <p:cSldViewPr snapToGrid="0">
      <p:cViewPr>
        <p:scale>
          <a:sx n="66" d="100"/>
          <a:sy n="66" d="100"/>
        </p:scale>
        <p:origin x="1290" y="234"/>
      </p:cViewPr>
      <p:guideLst>
        <p:guide orient="horz" pos="3083"/>
        <p:guide orient="horz" pos="756"/>
        <p:guide orient="horz" pos="893"/>
        <p:guide orient="horz" pos="438"/>
        <p:guide orient="horz" pos="1668"/>
        <p:guide orient="horz" pos="2220"/>
        <p:guide orient="horz" pos="132"/>
        <p:guide orient="horz" pos="2412"/>
        <p:guide pos="1794"/>
        <p:guide pos="2736"/>
        <p:guide pos="202"/>
        <p:guide pos="5322"/>
        <p:guide pos="5625"/>
        <p:guide pos="2880"/>
        <p:guide pos="3576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9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3.fntdata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font" Target="fonts/font6.fntdata"/><Relationship Id="rId47" Type="http://schemas.openxmlformats.org/officeDocument/2006/relationships/font" Target="fonts/font11.fntdata"/><Relationship Id="rId50" Type="http://schemas.openxmlformats.org/officeDocument/2006/relationships/font" Target="fonts/font14.fntdata"/><Relationship Id="rId55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font" Target="fonts/font2.fntdata"/><Relationship Id="rId46" Type="http://schemas.openxmlformats.org/officeDocument/2006/relationships/font" Target="fonts/font10.fntdata"/><Relationship Id="rId59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font" Target="fonts/font5.fntdata"/><Relationship Id="rId54" Type="http://schemas.openxmlformats.org/officeDocument/2006/relationships/font" Target="fonts/font1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font" Target="fonts/font1.fntdata"/><Relationship Id="rId40" Type="http://schemas.openxmlformats.org/officeDocument/2006/relationships/font" Target="fonts/font4.fntdata"/><Relationship Id="rId45" Type="http://schemas.openxmlformats.org/officeDocument/2006/relationships/font" Target="fonts/font9.fntdata"/><Relationship Id="rId53" Type="http://schemas.openxmlformats.org/officeDocument/2006/relationships/font" Target="fonts/font17.fntdata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49" Type="http://schemas.openxmlformats.org/officeDocument/2006/relationships/font" Target="fonts/font13.fntdata"/><Relationship Id="rId57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8.fntdata"/><Relationship Id="rId52" Type="http://schemas.openxmlformats.org/officeDocument/2006/relationships/font" Target="fonts/font16.fntdata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43" Type="http://schemas.openxmlformats.org/officeDocument/2006/relationships/font" Target="fonts/font7.fntdata"/><Relationship Id="rId48" Type="http://schemas.openxmlformats.org/officeDocument/2006/relationships/font" Target="fonts/font12.fntdata"/><Relationship Id="rId56" Type="http://schemas.openxmlformats.org/officeDocument/2006/relationships/commentAuthors" Target="commentAuthors.xml"/><Relationship Id="rId8" Type="http://schemas.openxmlformats.org/officeDocument/2006/relationships/slide" Target="slides/slide4.xml"/><Relationship Id="rId51" Type="http://schemas.openxmlformats.org/officeDocument/2006/relationships/font" Target="fonts/font15.fntdata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% of Respondents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lt1">
                      <a:lumMod val="95000"/>
                      <a:alpha val="54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6</c:f>
              <c:strCache>
                <c:ptCount val="5"/>
                <c:pt idx="0">
                  <c:v>Email Message</c:v>
                </c:pt>
                <c:pt idx="1">
                  <c:v>SMS</c:v>
                </c:pt>
                <c:pt idx="2">
                  <c:v>Social Media</c:v>
                </c:pt>
                <c:pt idx="3">
                  <c:v>News Letters</c:v>
                </c:pt>
                <c:pt idx="4">
                  <c:v>Blogs</c:v>
                </c:pt>
              </c:strCache>
            </c:strRef>
          </c:cat>
          <c:val>
            <c:numRef>
              <c:f>Sheet1!$B$2:$B$6</c:f>
              <c:numCache>
                <c:formatCode>0.00%</c:formatCode>
                <c:ptCount val="5"/>
                <c:pt idx="0">
                  <c:v>0.39240000000000003</c:v>
                </c:pt>
                <c:pt idx="1">
                  <c:v>9.8699999999999996E-2</c:v>
                </c:pt>
                <c:pt idx="2">
                  <c:v>0.36549999999999999</c:v>
                </c:pt>
                <c:pt idx="3">
                  <c:v>0.11210000000000001</c:v>
                </c:pt>
                <c:pt idx="4">
                  <c:v>3.139999999999999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/>
              <a:t>Top Email Senders - Volume</a:t>
            </a:r>
          </a:p>
        </c:rich>
      </c:tx>
      <c:layout>
        <c:manualLayout>
          <c:xMode val="edge"/>
          <c:yMode val="edge"/>
          <c:x val="0.12973425196850394"/>
          <c:y val="8.125000000000000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% of Respondents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shade val="51000"/>
                      <a:satMod val="130000"/>
                    </a:schemeClr>
                  </a:gs>
                  <a:gs pos="80000">
                    <a:schemeClr val="accent6">
                      <a:shade val="93000"/>
                      <a:satMod val="130000"/>
                    </a:schemeClr>
                  </a:gs>
                  <a:gs pos="100000">
                    <a:schemeClr val="accent6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6"/>
            <c:bubble3D val="0"/>
            <c:spPr>
              <a:gradFill rotWithShape="1">
                <a:gsLst>
                  <a:gs pos="0">
                    <a:schemeClr val="accent1">
                      <a:lumMod val="60000"/>
                      <a:shade val="51000"/>
                      <a:satMod val="130000"/>
                    </a:schemeClr>
                  </a:gs>
                  <a:gs pos="80000">
                    <a:schemeClr val="accent1">
                      <a:lumMod val="60000"/>
                      <a:shade val="93000"/>
                      <a:satMod val="130000"/>
                    </a:schemeClr>
                  </a:gs>
                  <a:gs pos="100000">
                    <a:schemeClr val="accent1">
                      <a:lumMod val="60000"/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7"/>
            <c:bubble3D val="0"/>
            <c:spPr>
              <a:gradFill rotWithShape="1">
                <a:gsLst>
                  <a:gs pos="0">
                    <a:schemeClr val="accent2">
                      <a:lumMod val="60000"/>
                      <a:shade val="51000"/>
                      <a:satMod val="130000"/>
                    </a:schemeClr>
                  </a:gs>
                  <a:gs pos="80000">
                    <a:schemeClr val="accent2">
                      <a:lumMod val="60000"/>
                      <a:shade val="93000"/>
                      <a:satMod val="130000"/>
                    </a:schemeClr>
                  </a:gs>
                  <a:gs pos="100000">
                    <a:schemeClr val="accent2">
                      <a:lumMod val="60000"/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8"/>
            <c:bubble3D val="0"/>
            <c:spPr>
              <a:gradFill rotWithShape="1">
                <a:gsLst>
                  <a:gs pos="0">
                    <a:schemeClr val="accent3">
                      <a:lumMod val="60000"/>
                      <a:shade val="51000"/>
                      <a:satMod val="130000"/>
                    </a:schemeClr>
                  </a:gs>
                  <a:gs pos="80000">
                    <a:schemeClr val="accent3">
                      <a:lumMod val="60000"/>
                      <a:shade val="93000"/>
                      <a:satMod val="130000"/>
                    </a:schemeClr>
                  </a:gs>
                  <a:gs pos="100000">
                    <a:schemeClr val="accent3">
                      <a:lumMod val="60000"/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9"/>
            <c:bubble3D val="0"/>
            <c:spPr>
              <a:gradFill rotWithShape="1">
                <a:gsLst>
                  <a:gs pos="0">
                    <a:schemeClr val="accent4">
                      <a:lumMod val="60000"/>
                      <a:shade val="51000"/>
                      <a:satMod val="130000"/>
                    </a:schemeClr>
                  </a:gs>
                  <a:gs pos="80000">
                    <a:schemeClr val="accent4">
                      <a:lumMod val="60000"/>
                      <a:shade val="93000"/>
                      <a:satMod val="130000"/>
                    </a:schemeClr>
                  </a:gs>
                  <a:gs pos="100000">
                    <a:schemeClr val="accent4">
                      <a:lumMod val="60000"/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lt1">
                      <a:lumMod val="95000"/>
                      <a:alpha val="54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11</c:f>
              <c:strCache>
                <c:ptCount val="10"/>
                <c:pt idx="0">
                  <c:v>Finance &amp; Insurance</c:v>
                </c:pt>
                <c:pt idx="1">
                  <c:v>Telecom</c:v>
                </c:pt>
                <c:pt idx="2">
                  <c:v>Advertising</c:v>
                </c:pt>
                <c:pt idx="3">
                  <c:v>Healthcare</c:v>
                </c:pt>
                <c:pt idx="4">
                  <c:v>Entertainment</c:v>
                </c:pt>
                <c:pt idx="5">
                  <c:v>Retail</c:v>
                </c:pt>
                <c:pt idx="6">
                  <c:v>Social Media</c:v>
                </c:pt>
                <c:pt idx="7">
                  <c:v>Education</c:v>
                </c:pt>
                <c:pt idx="8">
                  <c:v>Travel</c:v>
                </c:pt>
                <c:pt idx="9">
                  <c:v>Other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20200000000000001</c:v>
                </c:pt>
                <c:pt idx="1">
                  <c:v>0.123</c:v>
                </c:pt>
                <c:pt idx="2">
                  <c:v>0.121</c:v>
                </c:pt>
                <c:pt idx="3">
                  <c:v>9.6000000000000002E-2</c:v>
                </c:pt>
                <c:pt idx="4">
                  <c:v>7.3999999999999996E-2</c:v>
                </c:pt>
                <c:pt idx="5">
                  <c:v>5.1999999999999998E-2</c:v>
                </c:pt>
                <c:pt idx="6">
                  <c:v>4.4999999999999998E-2</c:v>
                </c:pt>
                <c:pt idx="7">
                  <c:v>3.9E-2</c:v>
                </c:pt>
                <c:pt idx="8">
                  <c:v>3.2000000000000001E-2</c:v>
                </c:pt>
                <c:pt idx="9">
                  <c:v>0.2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7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7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image" Target="../media/image18.pn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image" Target="../media/image21.pn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7.png"/><Relationship Id="rId1" Type="http://schemas.openxmlformats.org/officeDocument/2006/relationships/image" Target="../media/image26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image" Target="../media/image18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image" Target="../media/image21.pn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7.png"/><Relationship Id="rId1" Type="http://schemas.openxmlformats.org/officeDocument/2006/relationships/image" Target="../media/image26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52759F4-93F6-48AB-AD89-566B3F2229DB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6306CC3F-2D96-4B97-A5F5-DBA73BDF3552}">
      <dgm:prSet phldrT="[Text]"/>
      <dgm:spPr/>
      <dgm:t>
        <a:bodyPr/>
        <a:lstStyle/>
        <a:p>
          <a:r>
            <a:rPr lang="en-IN" dirty="0" smtClean="0"/>
            <a:t>Reach</a:t>
          </a:r>
          <a:endParaRPr lang="en-IN" dirty="0"/>
        </a:p>
      </dgm:t>
    </dgm:pt>
    <dgm:pt modelId="{95F6E996-E800-4D3A-869C-49398E449961}" type="parTrans" cxnId="{5628F196-F29D-4807-ACAC-F07CEFEDB49C}">
      <dgm:prSet/>
      <dgm:spPr/>
      <dgm:t>
        <a:bodyPr/>
        <a:lstStyle/>
        <a:p>
          <a:endParaRPr lang="en-IN"/>
        </a:p>
      </dgm:t>
    </dgm:pt>
    <dgm:pt modelId="{16F3DE79-6329-4357-8A5D-5334027BF40D}" type="sibTrans" cxnId="{5628F196-F29D-4807-ACAC-F07CEFEDB49C}">
      <dgm:prSet/>
      <dgm:spPr/>
      <dgm:t>
        <a:bodyPr/>
        <a:lstStyle/>
        <a:p>
          <a:endParaRPr lang="en-IN">
            <a:solidFill>
              <a:schemeClr val="tx1"/>
            </a:solidFill>
          </a:endParaRPr>
        </a:p>
      </dgm:t>
    </dgm:pt>
    <dgm:pt modelId="{2B639910-EC5D-4A72-8F8B-E1E5633E42C7}">
      <dgm:prSet phldrT="[Text]"/>
      <dgm:spPr/>
      <dgm:t>
        <a:bodyPr/>
        <a:lstStyle/>
        <a:p>
          <a:r>
            <a:rPr lang="en-IN" dirty="0" smtClean="0"/>
            <a:t>Relevance</a:t>
          </a:r>
          <a:endParaRPr lang="en-IN" dirty="0"/>
        </a:p>
      </dgm:t>
    </dgm:pt>
    <dgm:pt modelId="{84276B8A-82FD-4303-A413-1A1EBC52D3B5}" type="parTrans" cxnId="{C28AF387-DDEF-461A-AADB-7BB0EE3A7F6B}">
      <dgm:prSet/>
      <dgm:spPr/>
      <dgm:t>
        <a:bodyPr/>
        <a:lstStyle/>
        <a:p>
          <a:endParaRPr lang="en-IN"/>
        </a:p>
      </dgm:t>
    </dgm:pt>
    <dgm:pt modelId="{C8462618-6813-46E6-93FA-C49976F78D96}" type="sibTrans" cxnId="{C28AF387-DDEF-461A-AADB-7BB0EE3A7F6B}">
      <dgm:prSet/>
      <dgm:spPr/>
      <dgm:t>
        <a:bodyPr/>
        <a:lstStyle/>
        <a:p>
          <a:endParaRPr lang="en-IN"/>
        </a:p>
      </dgm:t>
    </dgm:pt>
    <dgm:pt modelId="{99C9C7D3-60E4-431A-9D57-A661CA090156}">
      <dgm:prSet phldrT="[Text]"/>
      <dgm:spPr/>
      <dgm:t>
        <a:bodyPr/>
        <a:lstStyle/>
        <a:p>
          <a:r>
            <a:rPr lang="en-IN" dirty="0" smtClean="0"/>
            <a:t>ROI</a:t>
          </a:r>
          <a:endParaRPr lang="en-IN" dirty="0"/>
        </a:p>
      </dgm:t>
    </dgm:pt>
    <dgm:pt modelId="{36F7E855-AC0A-43D7-AACF-2368ECE87AB0}" type="parTrans" cxnId="{D9AAA3F8-762F-4A3C-A3D9-E38BD97C2A47}">
      <dgm:prSet/>
      <dgm:spPr/>
      <dgm:t>
        <a:bodyPr/>
        <a:lstStyle/>
        <a:p>
          <a:endParaRPr lang="en-IN"/>
        </a:p>
      </dgm:t>
    </dgm:pt>
    <dgm:pt modelId="{DF34A015-82A6-4884-8E5D-7A9363A311A5}" type="sibTrans" cxnId="{D9AAA3F8-762F-4A3C-A3D9-E38BD97C2A47}">
      <dgm:prSet/>
      <dgm:spPr/>
      <dgm:t>
        <a:bodyPr/>
        <a:lstStyle/>
        <a:p>
          <a:endParaRPr lang="en-IN"/>
        </a:p>
      </dgm:t>
    </dgm:pt>
    <dgm:pt modelId="{A8AE90F7-EB68-498B-852B-2D7551E6E4A5}" type="pres">
      <dgm:prSet presAssocID="{752759F4-93F6-48AB-AD89-566B3F2229DB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2EE9E2BC-776F-43DA-9C08-4C4E0651C995}" type="pres">
      <dgm:prSet presAssocID="{752759F4-93F6-48AB-AD89-566B3F2229DB}" presName="Name1" presStyleCnt="0"/>
      <dgm:spPr/>
      <dgm:t>
        <a:bodyPr/>
        <a:lstStyle/>
        <a:p>
          <a:endParaRPr lang="en-US"/>
        </a:p>
      </dgm:t>
    </dgm:pt>
    <dgm:pt modelId="{7D6C2752-871D-495C-A85B-49B5655FF398}" type="pres">
      <dgm:prSet presAssocID="{752759F4-93F6-48AB-AD89-566B3F2229DB}" presName="cycle" presStyleCnt="0"/>
      <dgm:spPr/>
      <dgm:t>
        <a:bodyPr/>
        <a:lstStyle/>
        <a:p>
          <a:endParaRPr lang="en-US"/>
        </a:p>
      </dgm:t>
    </dgm:pt>
    <dgm:pt modelId="{2D79A93B-9842-4E19-98D4-0E6BAB2B5905}" type="pres">
      <dgm:prSet presAssocID="{752759F4-93F6-48AB-AD89-566B3F2229DB}" presName="srcNode" presStyleLbl="node1" presStyleIdx="0" presStyleCnt="3"/>
      <dgm:spPr/>
      <dgm:t>
        <a:bodyPr/>
        <a:lstStyle/>
        <a:p>
          <a:endParaRPr lang="en-US"/>
        </a:p>
      </dgm:t>
    </dgm:pt>
    <dgm:pt modelId="{FDAB39DD-199B-44C3-AF92-DB744FEFFD3F}" type="pres">
      <dgm:prSet presAssocID="{752759F4-93F6-48AB-AD89-566B3F2229DB}" presName="conn" presStyleLbl="parChTrans1D2" presStyleIdx="0" presStyleCnt="1"/>
      <dgm:spPr/>
      <dgm:t>
        <a:bodyPr/>
        <a:lstStyle/>
        <a:p>
          <a:endParaRPr lang="en-US"/>
        </a:p>
      </dgm:t>
    </dgm:pt>
    <dgm:pt modelId="{373ED717-4A74-4C6F-AB27-D6341A7D9B2D}" type="pres">
      <dgm:prSet presAssocID="{752759F4-93F6-48AB-AD89-566B3F2229DB}" presName="extraNode" presStyleLbl="node1" presStyleIdx="0" presStyleCnt="3"/>
      <dgm:spPr/>
      <dgm:t>
        <a:bodyPr/>
        <a:lstStyle/>
        <a:p>
          <a:endParaRPr lang="en-US"/>
        </a:p>
      </dgm:t>
    </dgm:pt>
    <dgm:pt modelId="{AD604114-00AF-4A70-B2C1-E570A72EEFC9}" type="pres">
      <dgm:prSet presAssocID="{752759F4-93F6-48AB-AD89-566B3F2229DB}" presName="dstNode" presStyleLbl="node1" presStyleIdx="0" presStyleCnt="3"/>
      <dgm:spPr/>
      <dgm:t>
        <a:bodyPr/>
        <a:lstStyle/>
        <a:p>
          <a:endParaRPr lang="en-US"/>
        </a:p>
      </dgm:t>
    </dgm:pt>
    <dgm:pt modelId="{16D7EABB-6ABD-4ECB-AFDD-9C244532BACB}" type="pres">
      <dgm:prSet presAssocID="{6306CC3F-2D96-4B97-A5F5-DBA73BDF3552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6D97E5-7BF5-43B4-B51E-209B9AD50610}" type="pres">
      <dgm:prSet presAssocID="{6306CC3F-2D96-4B97-A5F5-DBA73BDF3552}" presName="accent_1" presStyleCnt="0"/>
      <dgm:spPr/>
      <dgm:t>
        <a:bodyPr/>
        <a:lstStyle/>
        <a:p>
          <a:endParaRPr lang="en-US"/>
        </a:p>
      </dgm:t>
    </dgm:pt>
    <dgm:pt modelId="{5A93D48F-52EC-437D-8AFD-A732A52F4522}" type="pres">
      <dgm:prSet presAssocID="{6306CC3F-2D96-4B97-A5F5-DBA73BDF3552}" presName="accentRepeatNode" presStyleLbl="solidFgAcc1" presStyleIdx="0" presStyleCnt="3"/>
      <dgm:spPr/>
      <dgm:t>
        <a:bodyPr/>
        <a:lstStyle/>
        <a:p>
          <a:endParaRPr lang="en-US"/>
        </a:p>
      </dgm:t>
    </dgm:pt>
    <dgm:pt modelId="{29174898-38F7-4352-AD0E-BDA908DF1D20}" type="pres">
      <dgm:prSet presAssocID="{2B639910-EC5D-4A72-8F8B-E1E5633E42C7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E148EE0-7A2D-48E2-ABF8-6BABBF8DC009}" type="pres">
      <dgm:prSet presAssocID="{2B639910-EC5D-4A72-8F8B-E1E5633E42C7}" presName="accent_2" presStyleCnt="0"/>
      <dgm:spPr/>
      <dgm:t>
        <a:bodyPr/>
        <a:lstStyle/>
        <a:p>
          <a:endParaRPr lang="en-US"/>
        </a:p>
      </dgm:t>
    </dgm:pt>
    <dgm:pt modelId="{7FA645D8-A588-4327-ACA1-FDD8A2121F93}" type="pres">
      <dgm:prSet presAssocID="{2B639910-EC5D-4A72-8F8B-E1E5633E42C7}" presName="accentRepeatNode" presStyleLbl="solidFgAcc1" presStyleIdx="1" presStyleCnt="3"/>
      <dgm:spPr/>
      <dgm:t>
        <a:bodyPr/>
        <a:lstStyle/>
        <a:p>
          <a:endParaRPr lang="en-US"/>
        </a:p>
      </dgm:t>
    </dgm:pt>
    <dgm:pt modelId="{65C59747-40C2-4FFD-B66B-C3C4AB19C7CA}" type="pres">
      <dgm:prSet presAssocID="{99C9C7D3-60E4-431A-9D57-A661CA090156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08B2D6CC-B204-4C04-AC52-C0B7D48D1EFA}" type="pres">
      <dgm:prSet presAssocID="{99C9C7D3-60E4-431A-9D57-A661CA090156}" presName="accent_3" presStyleCnt="0"/>
      <dgm:spPr/>
      <dgm:t>
        <a:bodyPr/>
        <a:lstStyle/>
        <a:p>
          <a:endParaRPr lang="en-US"/>
        </a:p>
      </dgm:t>
    </dgm:pt>
    <dgm:pt modelId="{21B44E74-8520-4ED8-984B-550265E71866}" type="pres">
      <dgm:prSet presAssocID="{99C9C7D3-60E4-431A-9D57-A661CA090156}" presName="accentRepeatNode" presStyleLbl="solidFgAcc1" presStyleIdx="2" presStyleCnt="3"/>
      <dgm:spPr/>
      <dgm:t>
        <a:bodyPr/>
        <a:lstStyle/>
        <a:p>
          <a:endParaRPr lang="en-US"/>
        </a:p>
      </dgm:t>
    </dgm:pt>
  </dgm:ptLst>
  <dgm:cxnLst>
    <dgm:cxn modelId="{D9AAA3F8-762F-4A3C-A3D9-E38BD97C2A47}" srcId="{752759F4-93F6-48AB-AD89-566B3F2229DB}" destId="{99C9C7D3-60E4-431A-9D57-A661CA090156}" srcOrd="2" destOrd="0" parTransId="{36F7E855-AC0A-43D7-AACF-2368ECE87AB0}" sibTransId="{DF34A015-82A6-4884-8E5D-7A9363A311A5}"/>
    <dgm:cxn modelId="{5628F196-F29D-4807-ACAC-F07CEFEDB49C}" srcId="{752759F4-93F6-48AB-AD89-566B3F2229DB}" destId="{6306CC3F-2D96-4B97-A5F5-DBA73BDF3552}" srcOrd="0" destOrd="0" parTransId="{95F6E996-E800-4D3A-869C-49398E449961}" sibTransId="{16F3DE79-6329-4357-8A5D-5334027BF40D}"/>
    <dgm:cxn modelId="{1C071A0D-55C6-4319-8C85-2D6DE1849D59}" type="presOf" srcId="{752759F4-93F6-48AB-AD89-566B3F2229DB}" destId="{A8AE90F7-EB68-498B-852B-2D7551E6E4A5}" srcOrd="0" destOrd="0" presId="urn:microsoft.com/office/officeart/2008/layout/VerticalCurvedList"/>
    <dgm:cxn modelId="{87C587AB-E5A7-4EC7-8DAE-DD2FA14E2410}" type="presOf" srcId="{16F3DE79-6329-4357-8A5D-5334027BF40D}" destId="{FDAB39DD-199B-44C3-AF92-DB744FEFFD3F}" srcOrd="0" destOrd="0" presId="urn:microsoft.com/office/officeart/2008/layout/VerticalCurvedList"/>
    <dgm:cxn modelId="{E07AF0D2-6FB4-4E80-96C1-0063BE831195}" type="presOf" srcId="{99C9C7D3-60E4-431A-9D57-A661CA090156}" destId="{65C59747-40C2-4FFD-B66B-C3C4AB19C7CA}" srcOrd="0" destOrd="0" presId="urn:microsoft.com/office/officeart/2008/layout/VerticalCurvedList"/>
    <dgm:cxn modelId="{32D6B572-A537-4FA1-A4BA-8E7A1254A80E}" type="presOf" srcId="{2B639910-EC5D-4A72-8F8B-E1E5633E42C7}" destId="{29174898-38F7-4352-AD0E-BDA908DF1D20}" srcOrd="0" destOrd="0" presId="urn:microsoft.com/office/officeart/2008/layout/VerticalCurvedList"/>
    <dgm:cxn modelId="{C28AF387-DDEF-461A-AADB-7BB0EE3A7F6B}" srcId="{752759F4-93F6-48AB-AD89-566B3F2229DB}" destId="{2B639910-EC5D-4A72-8F8B-E1E5633E42C7}" srcOrd="1" destOrd="0" parTransId="{84276B8A-82FD-4303-A413-1A1EBC52D3B5}" sibTransId="{C8462618-6813-46E6-93FA-C49976F78D96}"/>
    <dgm:cxn modelId="{91962682-FB07-4CD3-9AC2-22F6B8F2DCB7}" type="presOf" srcId="{6306CC3F-2D96-4B97-A5F5-DBA73BDF3552}" destId="{16D7EABB-6ABD-4ECB-AFDD-9C244532BACB}" srcOrd="0" destOrd="0" presId="urn:microsoft.com/office/officeart/2008/layout/VerticalCurvedList"/>
    <dgm:cxn modelId="{86CC373C-5303-44CD-9F14-5D036F41E740}" type="presParOf" srcId="{A8AE90F7-EB68-498B-852B-2D7551E6E4A5}" destId="{2EE9E2BC-776F-43DA-9C08-4C4E0651C995}" srcOrd="0" destOrd="0" presId="urn:microsoft.com/office/officeart/2008/layout/VerticalCurvedList"/>
    <dgm:cxn modelId="{3F57D3B7-9E2F-4CB1-9C22-3F604F68028D}" type="presParOf" srcId="{2EE9E2BC-776F-43DA-9C08-4C4E0651C995}" destId="{7D6C2752-871D-495C-A85B-49B5655FF398}" srcOrd="0" destOrd="0" presId="urn:microsoft.com/office/officeart/2008/layout/VerticalCurvedList"/>
    <dgm:cxn modelId="{43D3C08E-3A1B-491C-B0A7-123B50163A6F}" type="presParOf" srcId="{7D6C2752-871D-495C-A85B-49B5655FF398}" destId="{2D79A93B-9842-4E19-98D4-0E6BAB2B5905}" srcOrd="0" destOrd="0" presId="urn:microsoft.com/office/officeart/2008/layout/VerticalCurvedList"/>
    <dgm:cxn modelId="{CD416802-A611-40BD-8BA5-429FB45A98E0}" type="presParOf" srcId="{7D6C2752-871D-495C-A85B-49B5655FF398}" destId="{FDAB39DD-199B-44C3-AF92-DB744FEFFD3F}" srcOrd="1" destOrd="0" presId="urn:microsoft.com/office/officeart/2008/layout/VerticalCurvedList"/>
    <dgm:cxn modelId="{0868CD3B-273C-4527-BEBB-EC78BBA20751}" type="presParOf" srcId="{7D6C2752-871D-495C-A85B-49B5655FF398}" destId="{373ED717-4A74-4C6F-AB27-D6341A7D9B2D}" srcOrd="2" destOrd="0" presId="urn:microsoft.com/office/officeart/2008/layout/VerticalCurvedList"/>
    <dgm:cxn modelId="{92F0AF57-C623-487E-86C8-A10DAAB1EACB}" type="presParOf" srcId="{7D6C2752-871D-495C-A85B-49B5655FF398}" destId="{AD604114-00AF-4A70-B2C1-E570A72EEFC9}" srcOrd="3" destOrd="0" presId="urn:microsoft.com/office/officeart/2008/layout/VerticalCurvedList"/>
    <dgm:cxn modelId="{17A2D7C5-B634-4869-8806-5B706650334B}" type="presParOf" srcId="{2EE9E2BC-776F-43DA-9C08-4C4E0651C995}" destId="{16D7EABB-6ABD-4ECB-AFDD-9C244532BACB}" srcOrd="1" destOrd="0" presId="urn:microsoft.com/office/officeart/2008/layout/VerticalCurvedList"/>
    <dgm:cxn modelId="{39397FA7-1A45-4CDA-8C54-F0CBF15EC2AC}" type="presParOf" srcId="{2EE9E2BC-776F-43DA-9C08-4C4E0651C995}" destId="{0E6D97E5-7BF5-43B4-B51E-209B9AD50610}" srcOrd="2" destOrd="0" presId="urn:microsoft.com/office/officeart/2008/layout/VerticalCurvedList"/>
    <dgm:cxn modelId="{B5D525B0-0BC3-498C-8E23-F90ACAF99B97}" type="presParOf" srcId="{0E6D97E5-7BF5-43B4-B51E-209B9AD50610}" destId="{5A93D48F-52EC-437D-8AFD-A732A52F4522}" srcOrd="0" destOrd="0" presId="urn:microsoft.com/office/officeart/2008/layout/VerticalCurvedList"/>
    <dgm:cxn modelId="{FD66AB88-145A-4EA9-B7EE-B194AF6AB93F}" type="presParOf" srcId="{2EE9E2BC-776F-43DA-9C08-4C4E0651C995}" destId="{29174898-38F7-4352-AD0E-BDA908DF1D20}" srcOrd="3" destOrd="0" presId="urn:microsoft.com/office/officeart/2008/layout/VerticalCurvedList"/>
    <dgm:cxn modelId="{508559C0-56C9-4874-A99B-3D9CC6E982C3}" type="presParOf" srcId="{2EE9E2BC-776F-43DA-9C08-4C4E0651C995}" destId="{CE148EE0-7A2D-48E2-ABF8-6BABBF8DC009}" srcOrd="4" destOrd="0" presId="urn:microsoft.com/office/officeart/2008/layout/VerticalCurvedList"/>
    <dgm:cxn modelId="{2B0825DB-334E-4F34-99E6-6B8BB160ACEE}" type="presParOf" srcId="{CE148EE0-7A2D-48E2-ABF8-6BABBF8DC009}" destId="{7FA645D8-A588-4327-ACA1-FDD8A2121F93}" srcOrd="0" destOrd="0" presId="urn:microsoft.com/office/officeart/2008/layout/VerticalCurvedList"/>
    <dgm:cxn modelId="{735A4F32-F385-4A9D-B9BD-2CAC6055A353}" type="presParOf" srcId="{2EE9E2BC-776F-43DA-9C08-4C4E0651C995}" destId="{65C59747-40C2-4FFD-B66B-C3C4AB19C7CA}" srcOrd="5" destOrd="0" presId="urn:microsoft.com/office/officeart/2008/layout/VerticalCurvedList"/>
    <dgm:cxn modelId="{04D09B22-CA9A-484A-9601-829327043E2B}" type="presParOf" srcId="{2EE9E2BC-776F-43DA-9C08-4C4E0651C995}" destId="{08B2D6CC-B204-4C04-AC52-C0B7D48D1EFA}" srcOrd="6" destOrd="0" presId="urn:microsoft.com/office/officeart/2008/layout/VerticalCurvedList"/>
    <dgm:cxn modelId="{BFADFF6D-BF3C-4613-8AAD-2D1898B92F65}" type="presParOf" srcId="{08B2D6CC-B204-4C04-AC52-C0B7D48D1EFA}" destId="{21B44E74-8520-4ED8-984B-550265E71866}" srcOrd="0" destOrd="0" presId="urn:microsoft.com/office/officeart/2008/layout/VerticalCurvedList"/>
  </dgm:cxnLst>
  <dgm:bg/>
  <dgm:whole>
    <a:ln>
      <a:solidFill>
        <a:schemeClr val="accent4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0CEDC2E-B9B1-4025-9445-59D6EEE10DD1}" type="doc">
      <dgm:prSet loTypeId="urn:microsoft.com/office/officeart/2005/8/layout/vList3" loCatId="list" qsTypeId="urn:microsoft.com/office/officeart/2005/8/quickstyle/simple3" qsCatId="simple" csTypeId="urn:microsoft.com/office/officeart/2005/8/colors/accent1_2" csCatId="accent1" phldr="1"/>
      <dgm:spPr/>
    </dgm:pt>
    <dgm:pt modelId="{52930F1F-EE83-4A6C-9C8E-75C3635EBD4D}">
      <dgm:prSet phldrT="[Text]"/>
      <dgm:spPr>
        <a:xfrm rot="10800000">
          <a:off x="1358003" y="2509"/>
          <a:ext cx="4271468" cy="1128430"/>
        </a:xfrm>
        <a:prstGeom prst="homePlate">
          <a:avLst/>
        </a:prstGeom>
      </dgm:spPr>
      <dgm:t>
        <a:bodyPr/>
        <a:lstStyle/>
        <a:p>
          <a:r>
            <a:rPr lang="en-US" smtClean="0">
              <a:latin typeface="Calibri"/>
              <a:ea typeface="+mn-ea"/>
              <a:cs typeface="+mn-cs"/>
            </a:rPr>
            <a:t>Email has thrice the no. of accounts than Facebook and Twitter combined</a:t>
          </a:r>
          <a:endParaRPr lang="en-US" dirty="0">
            <a:latin typeface="Calibri"/>
            <a:ea typeface="+mn-ea"/>
            <a:cs typeface="+mn-cs"/>
          </a:endParaRPr>
        </a:p>
      </dgm:t>
    </dgm:pt>
    <dgm:pt modelId="{51160B47-A6B8-4A84-8916-301A3B978B47}" type="parTrans" cxnId="{670B3A13-D622-425E-AEF9-CDF11573427D}">
      <dgm:prSet/>
      <dgm:spPr/>
      <dgm:t>
        <a:bodyPr/>
        <a:lstStyle/>
        <a:p>
          <a:endParaRPr lang="en-US"/>
        </a:p>
      </dgm:t>
    </dgm:pt>
    <dgm:pt modelId="{C2775766-5C55-4134-AB63-E97BEBB38B34}" type="sibTrans" cxnId="{670B3A13-D622-425E-AEF9-CDF11573427D}">
      <dgm:prSet/>
      <dgm:spPr/>
      <dgm:t>
        <a:bodyPr/>
        <a:lstStyle/>
        <a:p>
          <a:endParaRPr lang="en-US"/>
        </a:p>
      </dgm:t>
    </dgm:pt>
    <dgm:pt modelId="{57AFC87F-533F-48AC-9A62-CAFD6266F691}">
      <dgm:prSet phldrT="[Text]"/>
      <dgm:spPr>
        <a:xfrm rot="10800000">
          <a:off x="1244895" y="1457155"/>
          <a:ext cx="4271468" cy="1128430"/>
        </a:xfrm>
        <a:prstGeom prst="homePlate">
          <a:avLst/>
        </a:prstGeom>
      </dgm:spPr>
      <dgm:t>
        <a:bodyPr/>
        <a:lstStyle/>
        <a:p>
          <a:r>
            <a:rPr lang="en-US" dirty="0" smtClean="0">
              <a:latin typeface="Calibri"/>
              <a:ea typeface="+mn-ea"/>
              <a:cs typeface="+mn-cs"/>
            </a:rPr>
            <a:t>All web searches made on search engines in a day is equal to 1/100</a:t>
          </a:r>
          <a:r>
            <a:rPr lang="en-US" baseline="30000" dirty="0" smtClean="0">
              <a:latin typeface="Calibri"/>
              <a:ea typeface="+mn-ea"/>
              <a:cs typeface="+mn-cs"/>
            </a:rPr>
            <a:t>th</a:t>
          </a:r>
          <a:r>
            <a:rPr lang="en-US" dirty="0" smtClean="0">
              <a:latin typeface="Calibri"/>
              <a:ea typeface="+mn-ea"/>
              <a:cs typeface="+mn-cs"/>
            </a:rPr>
            <a:t> of daily email traffic</a:t>
          </a:r>
          <a:endParaRPr lang="en-US" dirty="0">
            <a:latin typeface="Calibri"/>
            <a:ea typeface="+mn-ea"/>
            <a:cs typeface="+mn-cs"/>
          </a:endParaRPr>
        </a:p>
      </dgm:t>
    </dgm:pt>
    <dgm:pt modelId="{097B0A62-D321-489A-8163-75C394FBE014}" type="parTrans" cxnId="{9A064193-91FB-4AC7-A026-AD46A5EB6CCA}">
      <dgm:prSet/>
      <dgm:spPr/>
      <dgm:t>
        <a:bodyPr/>
        <a:lstStyle/>
        <a:p>
          <a:endParaRPr lang="en-US"/>
        </a:p>
      </dgm:t>
    </dgm:pt>
    <dgm:pt modelId="{78C13751-8996-44E8-B193-048D8DAD832F}" type="sibTrans" cxnId="{9A064193-91FB-4AC7-A026-AD46A5EB6CCA}">
      <dgm:prSet/>
      <dgm:spPr/>
      <dgm:t>
        <a:bodyPr/>
        <a:lstStyle/>
        <a:p>
          <a:endParaRPr lang="en-US"/>
        </a:p>
      </dgm:t>
    </dgm:pt>
    <dgm:pt modelId="{2796199B-FB6D-417E-A277-546A112E7445}">
      <dgm:prSet phldrT="[Text]"/>
      <dgm:spPr>
        <a:xfrm rot="10800000">
          <a:off x="1358003" y="2933059"/>
          <a:ext cx="4271468" cy="1128430"/>
        </a:xfrm>
        <a:prstGeom prst="homePlate">
          <a:avLst/>
        </a:prstGeom>
      </dgm:spPr>
      <dgm:t>
        <a:bodyPr/>
        <a:lstStyle/>
        <a:p>
          <a:r>
            <a:rPr lang="en-US" smtClean="0">
              <a:latin typeface="Calibri"/>
              <a:ea typeface="+mn-ea"/>
              <a:cs typeface="+mn-cs"/>
            </a:rPr>
            <a:t>All pages viewed on web in a day use only 1/4</a:t>
          </a:r>
          <a:r>
            <a:rPr lang="en-US" baseline="30000" smtClean="0">
              <a:latin typeface="Calibri"/>
              <a:ea typeface="+mn-ea"/>
              <a:cs typeface="+mn-cs"/>
            </a:rPr>
            <a:t>th</a:t>
          </a:r>
          <a:r>
            <a:rPr lang="en-US" smtClean="0">
              <a:latin typeface="Calibri"/>
              <a:ea typeface="+mn-ea"/>
              <a:cs typeface="+mn-cs"/>
            </a:rPr>
            <a:t> of the bandwidth consumed by email</a:t>
          </a:r>
          <a:endParaRPr lang="en-US" dirty="0">
            <a:latin typeface="Calibri"/>
            <a:ea typeface="+mn-ea"/>
            <a:cs typeface="+mn-cs"/>
          </a:endParaRPr>
        </a:p>
      </dgm:t>
    </dgm:pt>
    <dgm:pt modelId="{6E4CB7C5-D2E2-4385-B310-4FDC6C3D6AC6}" type="parTrans" cxnId="{290DDC05-3408-47EB-BBF7-99B9D771614C}">
      <dgm:prSet/>
      <dgm:spPr/>
      <dgm:t>
        <a:bodyPr/>
        <a:lstStyle/>
        <a:p>
          <a:endParaRPr lang="en-US"/>
        </a:p>
      </dgm:t>
    </dgm:pt>
    <dgm:pt modelId="{72B4483C-27A6-48F4-87F5-846F34BB213A}" type="sibTrans" cxnId="{290DDC05-3408-47EB-BBF7-99B9D771614C}">
      <dgm:prSet/>
      <dgm:spPr/>
      <dgm:t>
        <a:bodyPr/>
        <a:lstStyle/>
        <a:p>
          <a:endParaRPr lang="en-US"/>
        </a:p>
      </dgm:t>
    </dgm:pt>
    <dgm:pt modelId="{F29193CA-F50D-4026-90A9-25017AD75A68}" type="pres">
      <dgm:prSet presAssocID="{F0CEDC2E-B9B1-4025-9445-59D6EEE10DD1}" presName="linearFlow" presStyleCnt="0">
        <dgm:presLayoutVars>
          <dgm:dir/>
          <dgm:resizeHandles val="exact"/>
        </dgm:presLayoutVars>
      </dgm:prSet>
      <dgm:spPr/>
    </dgm:pt>
    <dgm:pt modelId="{A5FBBEE7-8204-41FB-9E41-FC03B2F8F4D1}" type="pres">
      <dgm:prSet presAssocID="{52930F1F-EE83-4A6C-9C8E-75C3635EBD4D}" presName="composite" presStyleCnt="0"/>
      <dgm:spPr/>
    </dgm:pt>
    <dgm:pt modelId="{ABE1BC4A-7587-40ED-B72F-76686AA5DDF5}" type="pres">
      <dgm:prSet presAssocID="{52930F1F-EE83-4A6C-9C8E-75C3635EBD4D}" presName="imgShp" presStyleLbl="fgImgPlace1" presStyleIdx="0" presStyleCnt="3"/>
      <dgm:spPr>
        <a:xfrm>
          <a:off x="793788" y="2509"/>
          <a:ext cx="1128430" cy="1128430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51542AE9-45F4-4E1F-BF94-AA8421C087C4}" type="pres">
      <dgm:prSet presAssocID="{52930F1F-EE83-4A6C-9C8E-75C3635EBD4D}" presName="tx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72016FB-2624-4C7A-BCB5-0D8852784F50}" type="pres">
      <dgm:prSet presAssocID="{C2775766-5C55-4134-AB63-E97BEBB38B34}" presName="spacing" presStyleCnt="0"/>
      <dgm:spPr/>
    </dgm:pt>
    <dgm:pt modelId="{0D0CE317-4BDC-442D-B6D4-4D49ABD4509C}" type="pres">
      <dgm:prSet presAssocID="{57AFC87F-533F-48AC-9A62-CAFD6266F691}" presName="composite" presStyleCnt="0"/>
      <dgm:spPr/>
    </dgm:pt>
    <dgm:pt modelId="{71ED4363-6D4D-4271-810F-8499C68A803A}" type="pres">
      <dgm:prSet presAssocID="{57AFC87F-533F-48AC-9A62-CAFD6266F691}" presName="imgShp" presStyleLbl="fgImgPlace1" presStyleIdx="1" presStyleCnt="3"/>
      <dgm:spPr>
        <a:xfrm>
          <a:off x="793788" y="1467784"/>
          <a:ext cx="1128430" cy="1128430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0C78EEB8-35B2-44B5-A56D-09B559BE786E}" type="pres">
      <dgm:prSet presAssocID="{57AFC87F-533F-48AC-9A62-CAFD6266F691}" presName="txShp" presStyleLbl="node1" presStyleIdx="1" presStyleCnt="3" custLinFactNeighborX="-2648" custLinFactNeighborY="-94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01A20CD-635D-420B-8813-C34B4DBCA0C6}" type="pres">
      <dgm:prSet presAssocID="{78C13751-8996-44E8-B193-048D8DAD832F}" presName="spacing" presStyleCnt="0"/>
      <dgm:spPr/>
    </dgm:pt>
    <dgm:pt modelId="{26BFDA29-6691-4050-985B-5BCC1B7FAAE7}" type="pres">
      <dgm:prSet presAssocID="{2796199B-FB6D-417E-A277-546A112E7445}" presName="composite" presStyleCnt="0"/>
      <dgm:spPr/>
    </dgm:pt>
    <dgm:pt modelId="{A8F73F3A-23A3-4F3E-A731-BDB9F0621141}" type="pres">
      <dgm:prSet presAssocID="{2796199B-FB6D-417E-A277-546A112E7445}" presName="imgShp" presStyleLbl="fgImgPlace1" presStyleIdx="2" presStyleCnt="3"/>
      <dgm:spPr>
        <a:xfrm>
          <a:off x="793788" y="2933059"/>
          <a:ext cx="1128430" cy="1128430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BEBE05A6-8EFB-471D-9DD6-170DBFDA5D18}" type="pres">
      <dgm:prSet presAssocID="{2796199B-FB6D-417E-A277-546A112E7445}" presName="tx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A064193-91FB-4AC7-A026-AD46A5EB6CCA}" srcId="{F0CEDC2E-B9B1-4025-9445-59D6EEE10DD1}" destId="{57AFC87F-533F-48AC-9A62-CAFD6266F691}" srcOrd="1" destOrd="0" parTransId="{097B0A62-D321-489A-8163-75C394FBE014}" sibTransId="{78C13751-8996-44E8-B193-048D8DAD832F}"/>
    <dgm:cxn modelId="{18057D86-780D-45AE-82F4-87C62B292DDC}" type="presOf" srcId="{52930F1F-EE83-4A6C-9C8E-75C3635EBD4D}" destId="{51542AE9-45F4-4E1F-BF94-AA8421C087C4}" srcOrd="0" destOrd="0" presId="urn:microsoft.com/office/officeart/2005/8/layout/vList3"/>
    <dgm:cxn modelId="{F29B1F40-A975-4BD2-A248-90E20B8FF0C3}" type="presOf" srcId="{F0CEDC2E-B9B1-4025-9445-59D6EEE10DD1}" destId="{F29193CA-F50D-4026-90A9-25017AD75A68}" srcOrd="0" destOrd="0" presId="urn:microsoft.com/office/officeart/2005/8/layout/vList3"/>
    <dgm:cxn modelId="{5FE31F13-B3B3-412E-A526-3A0379D9D77C}" type="presOf" srcId="{2796199B-FB6D-417E-A277-546A112E7445}" destId="{BEBE05A6-8EFB-471D-9DD6-170DBFDA5D18}" srcOrd="0" destOrd="0" presId="urn:microsoft.com/office/officeart/2005/8/layout/vList3"/>
    <dgm:cxn modelId="{290DDC05-3408-47EB-BBF7-99B9D771614C}" srcId="{F0CEDC2E-B9B1-4025-9445-59D6EEE10DD1}" destId="{2796199B-FB6D-417E-A277-546A112E7445}" srcOrd="2" destOrd="0" parTransId="{6E4CB7C5-D2E2-4385-B310-4FDC6C3D6AC6}" sibTransId="{72B4483C-27A6-48F4-87F5-846F34BB213A}"/>
    <dgm:cxn modelId="{670B3A13-D622-425E-AEF9-CDF11573427D}" srcId="{F0CEDC2E-B9B1-4025-9445-59D6EEE10DD1}" destId="{52930F1F-EE83-4A6C-9C8E-75C3635EBD4D}" srcOrd="0" destOrd="0" parTransId="{51160B47-A6B8-4A84-8916-301A3B978B47}" sibTransId="{C2775766-5C55-4134-AB63-E97BEBB38B34}"/>
    <dgm:cxn modelId="{54D38018-AC3D-4AD9-82E4-36CB6D4D6A1B}" type="presOf" srcId="{57AFC87F-533F-48AC-9A62-CAFD6266F691}" destId="{0C78EEB8-35B2-44B5-A56D-09B559BE786E}" srcOrd="0" destOrd="0" presId="urn:microsoft.com/office/officeart/2005/8/layout/vList3"/>
    <dgm:cxn modelId="{F89558A3-763D-48BE-8DF4-DCB9CEE4381D}" type="presParOf" srcId="{F29193CA-F50D-4026-90A9-25017AD75A68}" destId="{A5FBBEE7-8204-41FB-9E41-FC03B2F8F4D1}" srcOrd="0" destOrd="0" presId="urn:microsoft.com/office/officeart/2005/8/layout/vList3"/>
    <dgm:cxn modelId="{70B1F888-2604-4B4B-8071-A2D4CDEC4C19}" type="presParOf" srcId="{A5FBBEE7-8204-41FB-9E41-FC03B2F8F4D1}" destId="{ABE1BC4A-7587-40ED-B72F-76686AA5DDF5}" srcOrd="0" destOrd="0" presId="urn:microsoft.com/office/officeart/2005/8/layout/vList3"/>
    <dgm:cxn modelId="{09FA2D10-C873-4208-BC97-3925F3C6B62C}" type="presParOf" srcId="{A5FBBEE7-8204-41FB-9E41-FC03B2F8F4D1}" destId="{51542AE9-45F4-4E1F-BF94-AA8421C087C4}" srcOrd="1" destOrd="0" presId="urn:microsoft.com/office/officeart/2005/8/layout/vList3"/>
    <dgm:cxn modelId="{7FD10B91-D957-4F29-B2B9-9655503AED66}" type="presParOf" srcId="{F29193CA-F50D-4026-90A9-25017AD75A68}" destId="{672016FB-2624-4C7A-BCB5-0D8852784F50}" srcOrd="1" destOrd="0" presId="urn:microsoft.com/office/officeart/2005/8/layout/vList3"/>
    <dgm:cxn modelId="{A1ECE882-3C9F-4298-BBED-6B7E4900EE1A}" type="presParOf" srcId="{F29193CA-F50D-4026-90A9-25017AD75A68}" destId="{0D0CE317-4BDC-442D-B6D4-4D49ABD4509C}" srcOrd="2" destOrd="0" presId="urn:microsoft.com/office/officeart/2005/8/layout/vList3"/>
    <dgm:cxn modelId="{2B44167A-03D5-410C-BAF1-F5393ACE90B1}" type="presParOf" srcId="{0D0CE317-4BDC-442D-B6D4-4D49ABD4509C}" destId="{71ED4363-6D4D-4271-810F-8499C68A803A}" srcOrd="0" destOrd="0" presId="urn:microsoft.com/office/officeart/2005/8/layout/vList3"/>
    <dgm:cxn modelId="{BC02098D-5845-4D08-A932-BF069CC5EC1A}" type="presParOf" srcId="{0D0CE317-4BDC-442D-B6D4-4D49ABD4509C}" destId="{0C78EEB8-35B2-44B5-A56D-09B559BE786E}" srcOrd="1" destOrd="0" presId="urn:microsoft.com/office/officeart/2005/8/layout/vList3"/>
    <dgm:cxn modelId="{FC1A959D-B309-4CAF-811D-A2F2425AF648}" type="presParOf" srcId="{F29193CA-F50D-4026-90A9-25017AD75A68}" destId="{201A20CD-635D-420B-8813-C34B4DBCA0C6}" srcOrd="3" destOrd="0" presId="urn:microsoft.com/office/officeart/2005/8/layout/vList3"/>
    <dgm:cxn modelId="{C8FD055C-C06F-45A8-9E1F-1A92439B6F8D}" type="presParOf" srcId="{F29193CA-F50D-4026-90A9-25017AD75A68}" destId="{26BFDA29-6691-4050-985B-5BCC1B7FAAE7}" srcOrd="4" destOrd="0" presId="urn:microsoft.com/office/officeart/2005/8/layout/vList3"/>
    <dgm:cxn modelId="{8D3C0E44-F9F6-47A9-9404-8F54F062D875}" type="presParOf" srcId="{26BFDA29-6691-4050-985B-5BCC1B7FAAE7}" destId="{A8F73F3A-23A3-4F3E-A731-BDB9F0621141}" srcOrd="0" destOrd="0" presId="urn:microsoft.com/office/officeart/2005/8/layout/vList3"/>
    <dgm:cxn modelId="{04795C8A-1EC9-421C-861E-B9E94E58AA1A}" type="presParOf" srcId="{26BFDA29-6691-4050-985B-5BCC1B7FAAE7}" destId="{BEBE05A6-8EFB-471D-9DD6-170DBFDA5D18}" srcOrd="1" destOrd="0" presId="urn:microsoft.com/office/officeart/2005/8/layout/vList3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EE36E38-92F9-4E26-9083-CF1AD6909D3D}" type="doc">
      <dgm:prSet loTypeId="urn:microsoft.com/office/officeart/2008/layout/VerticalCurvedLis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3B7CF3E-E89B-4183-9D46-14F4589076CE}">
      <dgm:prSet phldrT="[Text]"/>
      <dgm:spPr>
        <a:xfrm>
          <a:off x="599595" y="431702"/>
          <a:ext cx="6036549" cy="863404"/>
        </a:xfrm>
        <a:prstGeom prst="rect">
          <a:avLst/>
        </a:prstGeom>
      </dgm:spPr>
      <dgm:t>
        <a:bodyPr/>
        <a:lstStyle/>
        <a:p>
          <a:r>
            <a:rPr lang="en-US" sz="1700" b="1" smtClean="0">
              <a:latin typeface="Calibri"/>
              <a:ea typeface="+mn-ea"/>
              <a:cs typeface="+mn-cs"/>
            </a:rPr>
            <a:t>TV</a:t>
          </a:r>
          <a:endParaRPr lang="en-US" sz="1700" b="1" dirty="0">
            <a:latin typeface="Calibri"/>
            <a:ea typeface="+mn-ea"/>
            <a:cs typeface="+mn-cs"/>
          </a:endParaRPr>
        </a:p>
      </dgm:t>
    </dgm:pt>
    <dgm:pt modelId="{2BBDF0B8-400E-4E84-90D1-529C36221072}" type="parTrans" cxnId="{54365C58-C4D5-4842-9031-6862DB9B6D90}">
      <dgm:prSet/>
      <dgm:spPr/>
      <dgm:t>
        <a:bodyPr/>
        <a:lstStyle/>
        <a:p>
          <a:endParaRPr lang="en-US"/>
        </a:p>
      </dgm:t>
    </dgm:pt>
    <dgm:pt modelId="{48449842-B53D-4937-842D-E3EAB240EC50}" type="sibTrans" cxnId="{54365C58-C4D5-4842-9031-6862DB9B6D90}">
      <dgm:prSet/>
      <dgm:spPr/>
      <dgm:t>
        <a:bodyPr/>
        <a:lstStyle/>
        <a:p>
          <a:endParaRPr lang="en-US"/>
        </a:p>
      </dgm:t>
    </dgm:pt>
    <dgm:pt modelId="{4DD658BE-1A23-4146-919A-812159A78602}">
      <dgm:prSet phldrT="[Text]" custT="1"/>
      <dgm:spPr>
        <a:xfrm>
          <a:off x="599595" y="431702"/>
          <a:ext cx="6036549" cy="863404"/>
        </a:xfrm>
        <a:prstGeom prst="rect">
          <a:avLst/>
        </a:prstGeom>
      </dgm:spPr>
      <dgm:t>
        <a:bodyPr/>
        <a:lstStyle/>
        <a:p>
          <a:r>
            <a:rPr lang="en-US" sz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No view for who is watching the Ad</a:t>
          </a:r>
          <a:endParaRPr lang="en-US" sz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5B31A5B-DC42-4C6E-BEB5-94315761F8CF}" type="parTrans" cxnId="{A88C2360-FDBC-4946-8360-149EDF6EF77C}">
      <dgm:prSet/>
      <dgm:spPr/>
      <dgm:t>
        <a:bodyPr/>
        <a:lstStyle/>
        <a:p>
          <a:endParaRPr lang="en-US"/>
        </a:p>
      </dgm:t>
    </dgm:pt>
    <dgm:pt modelId="{0135B8CB-7EF5-4FC7-AE13-F4304DC50A71}" type="sibTrans" cxnId="{A88C2360-FDBC-4946-8360-149EDF6EF77C}">
      <dgm:prSet/>
      <dgm:spPr>
        <a:xfrm>
          <a:off x="-4880602" y="-747928"/>
          <a:ext cx="5812880" cy="5812880"/>
        </a:xfrm>
        <a:prstGeom prst="blockArc">
          <a:avLst>
            <a:gd name="adj1" fmla="val 18900000"/>
            <a:gd name="adj2" fmla="val 2700000"/>
            <a:gd name="adj3" fmla="val 372"/>
          </a:avLst>
        </a:prstGeom>
      </dgm:spPr>
      <dgm:t>
        <a:bodyPr/>
        <a:lstStyle/>
        <a:p>
          <a:endParaRPr lang="en-US"/>
        </a:p>
      </dgm:t>
    </dgm:pt>
    <dgm:pt modelId="{AA838DA8-EC27-4993-A8C7-5AA9B940E0EF}">
      <dgm:prSet phldrT="[Text]" custT="1"/>
      <dgm:spPr>
        <a:xfrm>
          <a:off x="599595" y="431702"/>
          <a:ext cx="6036549" cy="863404"/>
        </a:xfrm>
        <a:prstGeom prst="rect">
          <a:avLst/>
        </a:prstGeom>
      </dgm:spPr>
      <dgm:t>
        <a:bodyPr/>
        <a:lstStyle/>
        <a:p>
          <a:r>
            <a:rPr lang="en-US" sz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A comparative rating system to evaluate reach</a:t>
          </a:r>
          <a:endParaRPr lang="en-US" sz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C0B3820-9525-4597-9EAD-A047A2EBAB1B}" type="parTrans" cxnId="{7210EB8E-29F0-46B2-8605-3634EB5ECE7A}">
      <dgm:prSet/>
      <dgm:spPr/>
      <dgm:t>
        <a:bodyPr/>
        <a:lstStyle/>
        <a:p>
          <a:endParaRPr lang="en-US"/>
        </a:p>
      </dgm:t>
    </dgm:pt>
    <dgm:pt modelId="{29C34B6E-4F85-4C84-9328-7AB448722485}" type="sibTrans" cxnId="{7210EB8E-29F0-46B2-8605-3634EB5ECE7A}">
      <dgm:prSet/>
      <dgm:spPr/>
      <dgm:t>
        <a:bodyPr/>
        <a:lstStyle/>
        <a:p>
          <a:endParaRPr lang="en-US"/>
        </a:p>
      </dgm:t>
    </dgm:pt>
    <dgm:pt modelId="{98C0AEEE-A797-4EA8-8500-D992ECFB3E98}">
      <dgm:prSet phldrT="[Text]"/>
      <dgm:spPr>
        <a:xfrm>
          <a:off x="913442" y="1726809"/>
          <a:ext cx="5722701" cy="863404"/>
        </a:xfrm>
        <a:prstGeom prst="rect">
          <a:avLst/>
        </a:prstGeom>
      </dgm:spPr>
      <dgm:t>
        <a:bodyPr/>
        <a:lstStyle/>
        <a:p>
          <a:r>
            <a:rPr lang="en-US" sz="1700" b="1" smtClean="0">
              <a:latin typeface="Calibri"/>
              <a:ea typeface="+mn-ea"/>
              <a:cs typeface="+mn-cs"/>
            </a:rPr>
            <a:t>Direct Mail</a:t>
          </a:r>
          <a:endParaRPr lang="en-US" sz="1700" b="1" dirty="0">
            <a:latin typeface="Calibri"/>
            <a:ea typeface="+mn-ea"/>
            <a:cs typeface="+mn-cs"/>
          </a:endParaRPr>
        </a:p>
      </dgm:t>
    </dgm:pt>
    <dgm:pt modelId="{EB044F25-632B-4EF5-A080-C1B6B30559E4}" type="parTrans" cxnId="{C65BF1BF-06FC-4EA5-8082-19A448E4E267}">
      <dgm:prSet/>
      <dgm:spPr/>
      <dgm:t>
        <a:bodyPr/>
        <a:lstStyle/>
        <a:p>
          <a:endParaRPr lang="en-US"/>
        </a:p>
      </dgm:t>
    </dgm:pt>
    <dgm:pt modelId="{7C0DF938-77FC-4F83-9659-713EBD3394DE}" type="sibTrans" cxnId="{C65BF1BF-06FC-4EA5-8082-19A448E4E267}">
      <dgm:prSet/>
      <dgm:spPr/>
      <dgm:t>
        <a:bodyPr/>
        <a:lstStyle/>
        <a:p>
          <a:endParaRPr lang="en-US"/>
        </a:p>
      </dgm:t>
    </dgm:pt>
    <dgm:pt modelId="{4DE6367F-66A9-4CD7-ABB4-16B521AD3D36}">
      <dgm:prSet phldrT="[Text]" custT="1"/>
      <dgm:spPr>
        <a:xfrm>
          <a:off x="913442" y="1726809"/>
          <a:ext cx="5722701" cy="863404"/>
        </a:xfrm>
        <a:prstGeom prst="rect">
          <a:avLst/>
        </a:prstGeom>
      </dgm:spPr>
      <dgm:t>
        <a:bodyPr/>
        <a:lstStyle/>
        <a:p>
          <a:r>
            <a:rPr lang="en-US" sz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View of who will receive the mail</a:t>
          </a:r>
          <a:endParaRPr lang="en-US" sz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1D0CB7D8-F01C-48DA-995B-3F3DB18DE391}" type="parTrans" cxnId="{E3F15E93-57A2-44C6-B63B-F2287DE21AC9}">
      <dgm:prSet/>
      <dgm:spPr/>
      <dgm:t>
        <a:bodyPr/>
        <a:lstStyle/>
        <a:p>
          <a:endParaRPr lang="en-US"/>
        </a:p>
      </dgm:t>
    </dgm:pt>
    <dgm:pt modelId="{82882949-12BB-4546-80CD-5E04906B4356}" type="sibTrans" cxnId="{E3F15E93-57A2-44C6-B63B-F2287DE21AC9}">
      <dgm:prSet/>
      <dgm:spPr/>
      <dgm:t>
        <a:bodyPr/>
        <a:lstStyle/>
        <a:p>
          <a:endParaRPr lang="en-US"/>
        </a:p>
      </dgm:t>
    </dgm:pt>
    <dgm:pt modelId="{5B85FF20-D3CF-4CF4-A5A2-67677D3DA86B}">
      <dgm:prSet phldrT="[Text]" custT="1"/>
      <dgm:spPr>
        <a:xfrm>
          <a:off x="913442" y="1726809"/>
          <a:ext cx="5722701" cy="863404"/>
        </a:xfrm>
        <a:prstGeom prst="rect">
          <a:avLst/>
        </a:prstGeom>
      </dgm:spPr>
      <dgm:t>
        <a:bodyPr/>
        <a:lstStyle/>
        <a:p>
          <a:r>
            <a:rPr lang="en-US" sz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No view if the mail has been delivered or read by the receiver</a:t>
          </a:r>
          <a:endParaRPr lang="en-US" sz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2B574BD9-6943-480D-A847-4F3CBE79D9FE}" type="parTrans" cxnId="{4D3656A6-7B16-4917-B658-1041B1865F6C}">
      <dgm:prSet/>
      <dgm:spPr/>
      <dgm:t>
        <a:bodyPr/>
        <a:lstStyle/>
        <a:p>
          <a:endParaRPr lang="en-US"/>
        </a:p>
      </dgm:t>
    </dgm:pt>
    <dgm:pt modelId="{A01E52F1-AF52-45F7-BED2-3E04EE4A25FB}" type="sibTrans" cxnId="{4D3656A6-7B16-4917-B658-1041B1865F6C}">
      <dgm:prSet/>
      <dgm:spPr/>
      <dgm:t>
        <a:bodyPr/>
        <a:lstStyle/>
        <a:p>
          <a:endParaRPr lang="en-US"/>
        </a:p>
      </dgm:t>
    </dgm:pt>
    <dgm:pt modelId="{0FC32669-F28E-4BD4-BC86-9578EB927807}">
      <dgm:prSet phldrT="[Text]" custT="1"/>
      <dgm:spPr>
        <a:xfrm>
          <a:off x="599595" y="3021916"/>
          <a:ext cx="6036549" cy="863404"/>
        </a:xfrm>
        <a:prstGeom prst="rect">
          <a:avLst/>
        </a:prstGeom>
      </dgm:spPr>
      <dgm:t>
        <a:bodyPr/>
        <a:lstStyle/>
        <a:p>
          <a:r>
            <a:rPr lang="en-US" sz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View if the mail has been opened, clicked, which links are working (or not</a:t>
          </a:r>
          <a:r>
            <a:rPr lang="en-US" sz="1200" smtClean="0">
              <a:latin typeface="Calibri"/>
              <a:ea typeface="+mn-ea"/>
              <a:cs typeface="+mn-cs"/>
            </a:rPr>
            <a:t>)</a:t>
          </a:r>
          <a:endParaRPr lang="en-US" sz="1200" dirty="0">
            <a:latin typeface="Calibri"/>
            <a:ea typeface="+mn-ea"/>
            <a:cs typeface="+mn-cs"/>
          </a:endParaRPr>
        </a:p>
      </dgm:t>
    </dgm:pt>
    <dgm:pt modelId="{D4E72782-6456-4473-B5AC-A47E92E1B601}">
      <dgm:prSet phldrT="[Text]" custT="1"/>
      <dgm:spPr>
        <a:xfrm>
          <a:off x="599595" y="3021916"/>
          <a:ext cx="6036549" cy="863404"/>
        </a:xfrm>
        <a:prstGeom prst="rect">
          <a:avLst/>
        </a:prstGeom>
      </dgm:spPr>
      <dgm:t>
        <a:bodyPr/>
        <a:lstStyle/>
        <a:p>
          <a:r>
            <a:rPr lang="en-US" sz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View of who will receive the mail</a:t>
          </a:r>
          <a:endParaRPr lang="en-US" sz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ED5F9C5-E9BC-470C-B946-397EA2FBDBDF}">
      <dgm:prSet phldrT="[Text]"/>
      <dgm:spPr>
        <a:xfrm>
          <a:off x="599595" y="3021916"/>
          <a:ext cx="6036549" cy="863404"/>
        </a:xfrm>
        <a:prstGeom prst="rect">
          <a:avLst/>
        </a:prstGeom>
      </dgm:spPr>
      <dgm:t>
        <a:bodyPr/>
        <a:lstStyle/>
        <a:p>
          <a:r>
            <a:rPr lang="en-US" sz="1600" b="1" smtClean="0">
              <a:latin typeface="Calibri"/>
              <a:ea typeface="+mn-ea"/>
              <a:cs typeface="+mn-cs"/>
            </a:rPr>
            <a:t>Email</a:t>
          </a:r>
          <a:endParaRPr lang="en-US" sz="1600" b="1" dirty="0">
            <a:latin typeface="Calibri"/>
            <a:ea typeface="+mn-ea"/>
            <a:cs typeface="+mn-cs"/>
          </a:endParaRPr>
        </a:p>
      </dgm:t>
    </dgm:pt>
    <dgm:pt modelId="{78C992CE-575A-43D9-AD39-C15A3B22D39A}" type="sibTrans" cxnId="{C0736D00-BE01-4F38-9E85-4FEAB8A3E78C}">
      <dgm:prSet/>
      <dgm:spPr/>
      <dgm:t>
        <a:bodyPr/>
        <a:lstStyle/>
        <a:p>
          <a:endParaRPr lang="en-US"/>
        </a:p>
      </dgm:t>
    </dgm:pt>
    <dgm:pt modelId="{79F470D7-49CE-47F2-A3D5-637999321C66}" type="parTrans" cxnId="{C0736D00-BE01-4F38-9E85-4FEAB8A3E78C}">
      <dgm:prSet/>
      <dgm:spPr/>
      <dgm:t>
        <a:bodyPr/>
        <a:lstStyle/>
        <a:p>
          <a:endParaRPr lang="en-US"/>
        </a:p>
      </dgm:t>
    </dgm:pt>
    <dgm:pt modelId="{AB1048D6-47F0-4C09-8EC0-40E407597486}" type="sibTrans" cxnId="{943BB295-C865-4454-B00C-894E3E2DDD95}">
      <dgm:prSet/>
      <dgm:spPr/>
      <dgm:t>
        <a:bodyPr/>
        <a:lstStyle/>
        <a:p>
          <a:endParaRPr lang="en-US"/>
        </a:p>
      </dgm:t>
    </dgm:pt>
    <dgm:pt modelId="{3BFFE1D9-4852-40CF-A78F-634C04936C3D}" type="parTrans" cxnId="{943BB295-C865-4454-B00C-894E3E2DDD95}">
      <dgm:prSet/>
      <dgm:spPr/>
      <dgm:t>
        <a:bodyPr/>
        <a:lstStyle/>
        <a:p>
          <a:endParaRPr lang="en-US"/>
        </a:p>
      </dgm:t>
    </dgm:pt>
    <dgm:pt modelId="{3EEA5C23-3AFA-42EB-A748-769A6F554652}" type="sibTrans" cxnId="{B5B0EC77-964A-40B1-857C-A0C11C768736}">
      <dgm:prSet/>
      <dgm:spPr/>
      <dgm:t>
        <a:bodyPr/>
        <a:lstStyle/>
        <a:p>
          <a:endParaRPr lang="en-US"/>
        </a:p>
      </dgm:t>
    </dgm:pt>
    <dgm:pt modelId="{E1B88C8F-5BC7-4130-B6E5-E57D7DA660DD}" type="parTrans" cxnId="{B5B0EC77-964A-40B1-857C-A0C11C768736}">
      <dgm:prSet/>
      <dgm:spPr/>
      <dgm:t>
        <a:bodyPr/>
        <a:lstStyle/>
        <a:p>
          <a:endParaRPr lang="en-US"/>
        </a:p>
      </dgm:t>
    </dgm:pt>
    <dgm:pt modelId="{2351D1DA-8D6B-49BD-944E-DE54C5784C09}" type="pres">
      <dgm:prSet presAssocID="{4EE36E38-92F9-4E26-9083-CF1AD6909D3D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CB3D98AB-A7E5-4300-8B8D-2741F5BB51F6}" type="pres">
      <dgm:prSet presAssocID="{4EE36E38-92F9-4E26-9083-CF1AD6909D3D}" presName="Name1" presStyleCnt="0"/>
      <dgm:spPr/>
      <dgm:t>
        <a:bodyPr/>
        <a:lstStyle/>
        <a:p>
          <a:endParaRPr lang="en-US"/>
        </a:p>
      </dgm:t>
    </dgm:pt>
    <dgm:pt modelId="{1CEBC847-16F4-4DE1-AAD0-20B83C4B24C5}" type="pres">
      <dgm:prSet presAssocID="{4EE36E38-92F9-4E26-9083-CF1AD6909D3D}" presName="cycle" presStyleCnt="0"/>
      <dgm:spPr/>
      <dgm:t>
        <a:bodyPr/>
        <a:lstStyle/>
        <a:p>
          <a:endParaRPr lang="en-US"/>
        </a:p>
      </dgm:t>
    </dgm:pt>
    <dgm:pt modelId="{AEF047B0-62E6-41BA-9858-A88ACD2EEAA5}" type="pres">
      <dgm:prSet presAssocID="{4EE36E38-92F9-4E26-9083-CF1AD6909D3D}" presName="srcNode" presStyleLbl="node1" presStyleIdx="0" presStyleCnt="3"/>
      <dgm:spPr/>
      <dgm:t>
        <a:bodyPr/>
        <a:lstStyle/>
        <a:p>
          <a:endParaRPr lang="en-US"/>
        </a:p>
      </dgm:t>
    </dgm:pt>
    <dgm:pt modelId="{51F2EA83-E445-4C62-994E-4A2A31B8EC7F}" type="pres">
      <dgm:prSet presAssocID="{4EE36E38-92F9-4E26-9083-CF1AD6909D3D}" presName="conn" presStyleLbl="parChTrans1D2" presStyleIdx="0" presStyleCnt="1"/>
      <dgm:spPr/>
      <dgm:t>
        <a:bodyPr/>
        <a:lstStyle/>
        <a:p>
          <a:endParaRPr lang="en-US"/>
        </a:p>
      </dgm:t>
    </dgm:pt>
    <dgm:pt modelId="{FCB235EB-7F0A-4F00-B0BD-0D86788F05AD}" type="pres">
      <dgm:prSet presAssocID="{4EE36E38-92F9-4E26-9083-CF1AD6909D3D}" presName="extraNode" presStyleLbl="node1" presStyleIdx="0" presStyleCnt="3"/>
      <dgm:spPr/>
      <dgm:t>
        <a:bodyPr/>
        <a:lstStyle/>
        <a:p>
          <a:endParaRPr lang="en-US"/>
        </a:p>
      </dgm:t>
    </dgm:pt>
    <dgm:pt modelId="{C7E6E626-384E-40DD-8E7E-2C6ECE833C00}" type="pres">
      <dgm:prSet presAssocID="{4EE36E38-92F9-4E26-9083-CF1AD6909D3D}" presName="dstNode" presStyleLbl="node1" presStyleIdx="0" presStyleCnt="3"/>
      <dgm:spPr/>
      <dgm:t>
        <a:bodyPr/>
        <a:lstStyle/>
        <a:p>
          <a:endParaRPr lang="en-US"/>
        </a:p>
      </dgm:t>
    </dgm:pt>
    <dgm:pt modelId="{44BE3684-B257-4B62-9D84-FF14588C0E94}" type="pres">
      <dgm:prSet presAssocID="{03B7CF3E-E89B-4183-9D46-14F4589076CE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4D2ABC-EBCF-464E-A959-82E0E3A7A620}" type="pres">
      <dgm:prSet presAssocID="{03B7CF3E-E89B-4183-9D46-14F4589076CE}" presName="accent_1" presStyleCnt="0"/>
      <dgm:spPr/>
      <dgm:t>
        <a:bodyPr/>
        <a:lstStyle/>
        <a:p>
          <a:endParaRPr lang="en-US"/>
        </a:p>
      </dgm:t>
    </dgm:pt>
    <dgm:pt modelId="{81CD0801-B70E-4EC6-B1E9-B5CF177153C9}" type="pres">
      <dgm:prSet presAssocID="{03B7CF3E-E89B-4183-9D46-14F4589076CE}" presName="accentRepeatNode" presStyleLbl="solidFgAcc1" presStyleIdx="0" presStyleCnt="3"/>
      <dgm:spPr>
        <a:xfrm>
          <a:off x="59967" y="323776"/>
          <a:ext cx="1079256" cy="1079256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4A531BB8-0DDE-4FB5-B0DA-24791665563E}" type="pres">
      <dgm:prSet presAssocID="{98C0AEEE-A797-4EA8-8500-D992ECFB3E98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9E26418-B9C9-4807-A529-489092D15427}" type="pres">
      <dgm:prSet presAssocID="{98C0AEEE-A797-4EA8-8500-D992ECFB3E98}" presName="accent_2" presStyleCnt="0"/>
      <dgm:spPr/>
      <dgm:t>
        <a:bodyPr/>
        <a:lstStyle/>
        <a:p>
          <a:endParaRPr lang="en-US"/>
        </a:p>
      </dgm:t>
    </dgm:pt>
    <dgm:pt modelId="{6898AE3B-F46F-47D6-987D-F37FEB1554B8}" type="pres">
      <dgm:prSet presAssocID="{98C0AEEE-A797-4EA8-8500-D992ECFB3E98}" presName="accentRepeatNode" presStyleLbl="solidFgAcc1" presStyleIdx="1" presStyleCnt="3"/>
      <dgm:spPr>
        <a:xfrm>
          <a:off x="373814" y="1618884"/>
          <a:ext cx="1079256" cy="1079256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3F35068E-D60A-44A4-9012-4423D2CED427}" type="pres">
      <dgm:prSet presAssocID="{8ED5F9C5-E9BC-470C-B946-397EA2FBDBDF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5122CF-D8A8-42C9-AC9C-CEBEB9C36FD7}" type="pres">
      <dgm:prSet presAssocID="{8ED5F9C5-E9BC-470C-B946-397EA2FBDBDF}" presName="accent_3" presStyleCnt="0"/>
      <dgm:spPr/>
      <dgm:t>
        <a:bodyPr/>
        <a:lstStyle/>
        <a:p>
          <a:endParaRPr lang="en-US"/>
        </a:p>
      </dgm:t>
    </dgm:pt>
    <dgm:pt modelId="{491A8549-5F9B-4AC9-8D7B-BC5B496B29E5}" type="pres">
      <dgm:prSet presAssocID="{8ED5F9C5-E9BC-470C-B946-397EA2FBDBDF}" presName="accentRepeatNode" presStyleLbl="solidFgAcc1" presStyleIdx="2" presStyleCnt="3"/>
      <dgm:spPr>
        <a:xfrm>
          <a:off x="59967" y="2913991"/>
          <a:ext cx="1079256" cy="1079256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n-US"/>
        </a:p>
      </dgm:t>
    </dgm:pt>
  </dgm:ptLst>
  <dgm:cxnLst>
    <dgm:cxn modelId="{81F98889-64AE-465D-B657-6C29FC5290E1}" type="presOf" srcId="{D4E72782-6456-4473-B5AC-A47E92E1B601}" destId="{3F35068E-D60A-44A4-9012-4423D2CED427}" srcOrd="0" destOrd="1" presId="urn:microsoft.com/office/officeart/2008/layout/VerticalCurvedList"/>
    <dgm:cxn modelId="{A7209BBA-1F9A-43EA-8A08-7D24FBC741CD}" type="presOf" srcId="{0FC32669-F28E-4BD4-BC86-9578EB927807}" destId="{3F35068E-D60A-44A4-9012-4423D2CED427}" srcOrd="0" destOrd="2" presId="urn:microsoft.com/office/officeart/2008/layout/VerticalCurvedList"/>
    <dgm:cxn modelId="{943BB295-C865-4454-B00C-894E3E2DDD95}" srcId="{8ED5F9C5-E9BC-470C-B946-397EA2FBDBDF}" destId="{0FC32669-F28E-4BD4-BC86-9578EB927807}" srcOrd="1" destOrd="0" parTransId="{3BFFE1D9-4852-40CF-A78F-634C04936C3D}" sibTransId="{AB1048D6-47F0-4C09-8EC0-40E407597486}"/>
    <dgm:cxn modelId="{F659E60E-1341-434E-8E99-74C44863C42A}" type="presOf" srcId="{03B7CF3E-E89B-4183-9D46-14F4589076CE}" destId="{44BE3684-B257-4B62-9D84-FF14588C0E94}" srcOrd="0" destOrd="0" presId="urn:microsoft.com/office/officeart/2008/layout/VerticalCurvedList"/>
    <dgm:cxn modelId="{54365C58-C4D5-4842-9031-6862DB9B6D90}" srcId="{4EE36E38-92F9-4E26-9083-CF1AD6909D3D}" destId="{03B7CF3E-E89B-4183-9D46-14F4589076CE}" srcOrd="0" destOrd="0" parTransId="{2BBDF0B8-400E-4E84-90D1-529C36221072}" sibTransId="{48449842-B53D-4937-842D-E3EAB240EC50}"/>
    <dgm:cxn modelId="{50599FB3-0120-4ABE-9A25-6D9D69A15E9A}" type="presOf" srcId="{AA838DA8-EC27-4993-A8C7-5AA9B940E0EF}" destId="{44BE3684-B257-4B62-9D84-FF14588C0E94}" srcOrd="0" destOrd="2" presId="urn:microsoft.com/office/officeart/2008/layout/VerticalCurvedList"/>
    <dgm:cxn modelId="{19A533FC-99E0-4698-8F2D-40887A63996B}" type="presOf" srcId="{4EE36E38-92F9-4E26-9083-CF1AD6909D3D}" destId="{2351D1DA-8D6B-49BD-944E-DE54C5784C09}" srcOrd="0" destOrd="0" presId="urn:microsoft.com/office/officeart/2008/layout/VerticalCurvedList"/>
    <dgm:cxn modelId="{E3F15E93-57A2-44C6-B63B-F2287DE21AC9}" srcId="{98C0AEEE-A797-4EA8-8500-D992ECFB3E98}" destId="{4DE6367F-66A9-4CD7-ABB4-16B521AD3D36}" srcOrd="0" destOrd="0" parTransId="{1D0CB7D8-F01C-48DA-995B-3F3DB18DE391}" sibTransId="{82882949-12BB-4546-80CD-5E04906B4356}"/>
    <dgm:cxn modelId="{8159A093-2E41-42B1-AC38-7761F7D14278}" type="presOf" srcId="{0135B8CB-7EF5-4FC7-AE13-F4304DC50A71}" destId="{51F2EA83-E445-4C62-994E-4A2A31B8EC7F}" srcOrd="0" destOrd="0" presId="urn:microsoft.com/office/officeart/2008/layout/VerticalCurvedList"/>
    <dgm:cxn modelId="{A88C2360-FDBC-4946-8360-149EDF6EF77C}" srcId="{03B7CF3E-E89B-4183-9D46-14F4589076CE}" destId="{4DD658BE-1A23-4146-919A-812159A78602}" srcOrd="0" destOrd="0" parTransId="{E5B31A5B-DC42-4C6E-BEB5-94315761F8CF}" sibTransId="{0135B8CB-7EF5-4FC7-AE13-F4304DC50A71}"/>
    <dgm:cxn modelId="{5D1CA11B-2A93-4BE6-B91D-12286A22C88F}" type="presOf" srcId="{4DD658BE-1A23-4146-919A-812159A78602}" destId="{44BE3684-B257-4B62-9D84-FF14588C0E94}" srcOrd="0" destOrd="1" presId="urn:microsoft.com/office/officeart/2008/layout/VerticalCurvedList"/>
    <dgm:cxn modelId="{B5B0EC77-964A-40B1-857C-A0C11C768736}" srcId="{8ED5F9C5-E9BC-470C-B946-397EA2FBDBDF}" destId="{D4E72782-6456-4473-B5AC-A47E92E1B601}" srcOrd="0" destOrd="0" parTransId="{E1B88C8F-5BC7-4130-B6E5-E57D7DA660DD}" sibTransId="{3EEA5C23-3AFA-42EB-A748-769A6F554652}"/>
    <dgm:cxn modelId="{4D3656A6-7B16-4917-B658-1041B1865F6C}" srcId="{98C0AEEE-A797-4EA8-8500-D992ECFB3E98}" destId="{5B85FF20-D3CF-4CF4-A5A2-67677D3DA86B}" srcOrd="1" destOrd="0" parTransId="{2B574BD9-6943-480D-A847-4F3CBE79D9FE}" sibTransId="{A01E52F1-AF52-45F7-BED2-3E04EE4A25FB}"/>
    <dgm:cxn modelId="{BCE8D4D0-2250-4D6E-8621-324D95D95CF8}" type="presOf" srcId="{4DE6367F-66A9-4CD7-ABB4-16B521AD3D36}" destId="{4A531BB8-0DDE-4FB5-B0DA-24791665563E}" srcOrd="0" destOrd="1" presId="urn:microsoft.com/office/officeart/2008/layout/VerticalCurvedList"/>
    <dgm:cxn modelId="{7210EB8E-29F0-46B2-8605-3634EB5ECE7A}" srcId="{03B7CF3E-E89B-4183-9D46-14F4589076CE}" destId="{AA838DA8-EC27-4993-A8C7-5AA9B940E0EF}" srcOrd="1" destOrd="0" parTransId="{DC0B3820-9525-4597-9EAD-A047A2EBAB1B}" sibTransId="{29C34B6E-4F85-4C84-9328-7AB448722485}"/>
    <dgm:cxn modelId="{C65BF1BF-06FC-4EA5-8082-19A448E4E267}" srcId="{4EE36E38-92F9-4E26-9083-CF1AD6909D3D}" destId="{98C0AEEE-A797-4EA8-8500-D992ECFB3E98}" srcOrd="1" destOrd="0" parTransId="{EB044F25-632B-4EF5-A080-C1B6B30559E4}" sibTransId="{7C0DF938-77FC-4F83-9659-713EBD3394DE}"/>
    <dgm:cxn modelId="{43ABDEA2-2ADE-4972-B1FC-442D96F2190B}" type="presOf" srcId="{98C0AEEE-A797-4EA8-8500-D992ECFB3E98}" destId="{4A531BB8-0DDE-4FB5-B0DA-24791665563E}" srcOrd="0" destOrd="0" presId="urn:microsoft.com/office/officeart/2008/layout/VerticalCurvedList"/>
    <dgm:cxn modelId="{C0736D00-BE01-4F38-9E85-4FEAB8A3E78C}" srcId="{4EE36E38-92F9-4E26-9083-CF1AD6909D3D}" destId="{8ED5F9C5-E9BC-470C-B946-397EA2FBDBDF}" srcOrd="2" destOrd="0" parTransId="{79F470D7-49CE-47F2-A3D5-637999321C66}" sibTransId="{78C992CE-575A-43D9-AD39-C15A3B22D39A}"/>
    <dgm:cxn modelId="{8B2F3A30-B20B-4FC1-AD40-28F8CC289361}" type="presOf" srcId="{5B85FF20-D3CF-4CF4-A5A2-67677D3DA86B}" destId="{4A531BB8-0DDE-4FB5-B0DA-24791665563E}" srcOrd="0" destOrd="2" presId="urn:microsoft.com/office/officeart/2008/layout/VerticalCurvedList"/>
    <dgm:cxn modelId="{7B292F33-08E1-4B9D-A3C9-788C474144BF}" type="presOf" srcId="{8ED5F9C5-E9BC-470C-B946-397EA2FBDBDF}" destId="{3F35068E-D60A-44A4-9012-4423D2CED427}" srcOrd="0" destOrd="0" presId="urn:microsoft.com/office/officeart/2008/layout/VerticalCurvedList"/>
    <dgm:cxn modelId="{FEEA6635-27E1-4694-AA74-73B07E7AE757}" type="presParOf" srcId="{2351D1DA-8D6B-49BD-944E-DE54C5784C09}" destId="{CB3D98AB-A7E5-4300-8B8D-2741F5BB51F6}" srcOrd="0" destOrd="0" presId="urn:microsoft.com/office/officeart/2008/layout/VerticalCurvedList"/>
    <dgm:cxn modelId="{D65F8BE9-297F-4CFF-8FF7-7D277B791CC2}" type="presParOf" srcId="{CB3D98AB-A7E5-4300-8B8D-2741F5BB51F6}" destId="{1CEBC847-16F4-4DE1-AAD0-20B83C4B24C5}" srcOrd="0" destOrd="0" presId="urn:microsoft.com/office/officeart/2008/layout/VerticalCurvedList"/>
    <dgm:cxn modelId="{2B00C7FD-9131-4A8D-8EA3-D256F0B9D1B4}" type="presParOf" srcId="{1CEBC847-16F4-4DE1-AAD0-20B83C4B24C5}" destId="{AEF047B0-62E6-41BA-9858-A88ACD2EEAA5}" srcOrd="0" destOrd="0" presId="urn:microsoft.com/office/officeart/2008/layout/VerticalCurvedList"/>
    <dgm:cxn modelId="{966F3D79-E739-42D4-92F8-76340FB8C554}" type="presParOf" srcId="{1CEBC847-16F4-4DE1-AAD0-20B83C4B24C5}" destId="{51F2EA83-E445-4C62-994E-4A2A31B8EC7F}" srcOrd="1" destOrd="0" presId="urn:microsoft.com/office/officeart/2008/layout/VerticalCurvedList"/>
    <dgm:cxn modelId="{D5EE0432-CB37-4A57-8B1C-F77ECC4047D6}" type="presParOf" srcId="{1CEBC847-16F4-4DE1-AAD0-20B83C4B24C5}" destId="{FCB235EB-7F0A-4F00-B0BD-0D86788F05AD}" srcOrd="2" destOrd="0" presId="urn:microsoft.com/office/officeart/2008/layout/VerticalCurvedList"/>
    <dgm:cxn modelId="{693F52B5-18B7-4DCF-870B-EE04C4FA9B80}" type="presParOf" srcId="{1CEBC847-16F4-4DE1-AAD0-20B83C4B24C5}" destId="{C7E6E626-384E-40DD-8E7E-2C6ECE833C00}" srcOrd="3" destOrd="0" presId="urn:microsoft.com/office/officeart/2008/layout/VerticalCurvedList"/>
    <dgm:cxn modelId="{FFEC477D-24AF-4DAD-B1F3-46C5539A3A7B}" type="presParOf" srcId="{CB3D98AB-A7E5-4300-8B8D-2741F5BB51F6}" destId="{44BE3684-B257-4B62-9D84-FF14588C0E94}" srcOrd="1" destOrd="0" presId="urn:microsoft.com/office/officeart/2008/layout/VerticalCurvedList"/>
    <dgm:cxn modelId="{0668DBEB-6DDD-4F64-840D-7F164ACD1528}" type="presParOf" srcId="{CB3D98AB-A7E5-4300-8B8D-2741F5BB51F6}" destId="{A54D2ABC-EBCF-464E-A959-82E0E3A7A620}" srcOrd="2" destOrd="0" presId="urn:microsoft.com/office/officeart/2008/layout/VerticalCurvedList"/>
    <dgm:cxn modelId="{694F414A-A63F-4B04-B087-9552F57D0B70}" type="presParOf" srcId="{A54D2ABC-EBCF-464E-A959-82E0E3A7A620}" destId="{81CD0801-B70E-4EC6-B1E9-B5CF177153C9}" srcOrd="0" destOrd="0" presId="urn:microsoft.com/office/officeart/2008/layout/VerticalCurvedList"/>
    <dgm:cxn modelId="{09C240D1-9BCA-43FA-9FDE-DA4FD9C4D2B2}" type="presParOf" srcId="{CB3D98AB-A7E5-4300-8B8D-2741F5BB51F6}" destId="{4A531BB8-0DDE-4FB5-B0DA-24791665563E}" srcOrd="3" destOrd="0" presId="urn:microsoft.com/office/officeart/2008/layout/VerticalCurvedList"/>
    <dgm:cxn modelId="{DA618A34-B1A5-4C9C-AEA8-B81F8F7315BD}" type="presParOf" srcId="{CB3D98AB-A7E5-4300-8B8D-2741F5BB51F6}" destId="{09E26418-B9C9-4807-A529-489092D15427}" srcOrd="4" destOrd="0" presId="urn:microsoft.com/office/officeart/2008/layout/VerticalCurvedList"/>
    <dgm:cxn modelId="{F23007EA-E943-4984-95B4-230B233A01E6}" type="presParOf" srcId="{09E26418-B9C9-4807-A529-489092D15427}" destId="{6898AE3B-F46F-47D6-987D-F37FEB1554B8}" srcOrd="0" destOrd="0" presId="urn:microsoft.com/office/officeart/2008/layout/VerticalCurvedList"/>
    <dgm:cxn modelId="{B37AB01C-6897-4738-9C92-077C20AB1D55}" type="presParOf" srcId="{CB3D98AB-A7E5-4300-8B8D-2741F5BB51F6}" destId="{3F35068E-D60A-44A4-9012-4423D2CED427}" srcOrd="5" destOrd="0" presId="urn:microsoft.com/office/officeart/2008/layout/VerticalCurvedList"/>
    <dgm:cxn modelId="{5678D481-C99B-4ADA-9086-00D40544676F}" type="presParOf" srcId="{CB3D98AB-A7E5-4300-8B8D-2741F5BB51F6}" destId="{195122CF-D8A8-42C9-AC9C-CEBEB9C36FD7}" srcOrd="6" destOrd="0" presId="urn:microsoft.com/office/officeart/2008/layout/VerticalCurvedList"/>
    <dgm:cxn modelId="{F21BE905-209D-4D1D-A3FC-FFE509089AB3}" type="presParOf" srcId="{195122CF-D8A8-42C9-AC9C-CEBEB9C36FD7}" destId="{491A8549-5F9B-4AC9-8D7B-BC5B496B29E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EE36E38-92F9-4E26-9083-CF1AD6909D3D}" type="doc">
      <dgm:prSet loTypeId="urn:microsoft.com/office/officeart/2005/8/layout/hList6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3B7CF3E-E89B-4183-9D46-14F4589076CE}">
      <dgm:prSet phldrT="[Text]" custT="1"/>
      <dgm:spPr>
        <a:xfrm rot="16200000">
          <a:off x="-100167" y="100948"/>
          <a:ext cx="2233401" cy="2031503"/>
        </a:xfrm>
        <a:prstGeom prst="flowChartManualOperation">
          <a:avLst/>
        </a:prstGeom>
      </dgm:spPr>
      <dgm:t>
        <a:bodyPr/>
        <a:lstStyle/>
        <a:p>
          <a:pPr algn="l"/>
          <a:r>
            <a:rPr lang="en-US" sz="1600" b="1" smtClean="0">
              <a:latin typeface="Tahoma" pitchFamily="34" charset="0"/>
              <a:ea typeface="Tahoma" pitchFamily="34" charset="0"/>
              <a:cs typeface="Tahoma" pitchFamily="34" charset="0"/>
            </a:rPr>
            <a:t>     Facebook</a:t>
          </a:r>
        </a:p>
        <a:p>
          <a:pPr algn="l"/>
          <a:r>
            <a:rPr lang="en-US" sz="2100" smtClean="0">
              <a:latin typeface="Calibri"/>
              <a:ea typeface="+mn-ea"/>
              <a:cs typeface="+mn-cs"/>
            </a:rPr>
            <a:t>Avg. CTR on Facebook is </a:t>
          </a:r>
          <a:r>
            <a:rPr lang="en-US" sz="2100" b="1" smtClean="0">
              <a:latin typeface="Calibri"/>
              <a:ea typeface="+mn-ea"/>
              <a:cs typeface="+mn-cs"/>
            </a:rPr>
            <a:t>1.49%</a:t>
          </a:r>
          <a:endParaRPr lang="en-US" sz="2100" b="1" dirty="0" smtClean="0">
            <a:latin typeface="Calibri"/>
            <a:ea typeface="+mn-ea"/>
            <a:cs typeface="+mn-cs"/>
          </a:endParaRPr>
        </a:p>
      </dgm:t>
    </dgm:pt>
    <dgm:pt modelId="{2BBDF0B8-400E-4E84-90D1-529C36221072}" type="parTrans" cxnId="{54365C58-C4D5-4842-9031-6862DB9B6D90}">
      <dgm:prSet/>
      <dgm:spPr/>
      <dgm:t>
        <a:bodyPr/>
        <a:lstStyle/>
        <a:p>
          <a:pPr algn="l"/>
          <a:endParaRPr lang="en-US"/>
        </a:p>
      </dgm:t>
    </dgm:pt>
    <dgm:pt modelId="{48449842-B53D-4937-842D-E3EAB240EC50}" type="sibTrans" cxnId="{54365C58-C4D5-4842-9031-6862DB9B6D90}">
      <dgm:prSet/>
      <dgm:spPr/>
      <dgm:t>
        <a:bodyPr/>
        <a:lstStyle/>
        <a:p>
          <a:pPr algn="l"/>
          <a:endParaRPr lang="en-US"/>
        </a:p>
      </dgm:t>
    </dgm:pt>
    <dgm:pt modelId="{98C0AEEE-A797-4EA8-8500-D992ECFB3E98}">
      <dgm:prSet phldrT="[Text]"/>
      <dgm:spPr>
        <a:xfrm rot="16200000">
          <a:off x="2083698" y="100948"/>
          <a:ext cx="2233401" cy="2031503"/>
        </a:xfrm>
        <a:prstGeom prst="flowChartManualOperation">
          <a:avLst/>
        </a:prstGeom>
      </dgm:spPr>
      <dgm:t>
        <a:bodyPr/>
        <a:lstStyle/>
        <a:p>
          <a:r>
            <a:rPr lang="en-US" b="1" smtClean="0">
              <a:latin typeface="Calibri"/>
              <a:ea typeface="+mn-ea"/>
              <a:cs typeface="+mn-cs"/>
            </a:rPr>
            <a:t>Twitter</a:t>
          </a:r>
        </a:p>
        <a:p>
          <a:r>
            <a:rPr lang="en-US" smtClean="0">
              <a:latin typeface="Calibri"/>
              <a:ea typeface="+mn-ea"/>
              <a:cs typeface="+mn-cs"/>
            </a:rPr>
            <a:t>Avg. CTR on twitter is </a:t>
          </a:r>
          <a:r>
            <a:rPr lang="en-US" b="1" smtClean="0">
              <a:latin typeface="Calibri"/>
              <a:ea typeface="+mn-ea"/>
              <a:cs typeface="+mn-cs"/>
            </a:rPr>
            <a:t>1.64% </a:t>
          </a:r>
          <a:r>
            <a:rPr lang="en-US" smtClean="0">
              <a:latin typeface="Calibri"/>
              <a:ea typeface="+mn-ea"/>
              <a:cs typeface="+mn-cs"/>
            </a:rPr>
            <a:t>	</a:t>
          </a:r>
          <a:endParaRPr lang="en-US" dirty="0" smtClean="0">
            <a:latin typeface="Calibri"/>
            <a:ea typeface="+mn-ea"/>
            <a:cs typeface="+mn-cs"/>
          </a:endParaRPr>
        </a:p>
      </dgm:t>
    </dgm:pt>
    <dgm:pt modelId="{EB044F25-632B-4EF5-A080-C1B6B30559E4}" type="parTrans" cxnId="{C65BF1BF-06FC-4EA5-8082-19A448E4E267}">
      <dgm:prSet/>
      <dgm:spPr/>
      <dgm:t>
        <a:bodyPr/>
        <a:lstStyle/>
        <a:p>
          <a:pPr algn="l"/>
          <a:endParaRPr lang="en-US"/>
        </a:p>
      </dgm:t>
    </dgm:pt>
    <dgm:pt modelId="{7C0DF938-77FC-4F83-9659-713EBD3394DE}" type="sibTrans" cxnId="{C65BF1BF-06FC-4EA5-8082-19A448E4E267}">
      <dgm:prSet/>
      <dgm:spPr/>
      <dgm:t>
        <a:bodyPr/>
        <a:lstStyle/>
        <a:p>
          <a:pPr algn="l"/>
          <a:endParaRPr lang="en-US"/>
        </a:p>
      </dgm:t>
    </dgm:pt>
    <dgm:pt modelId="{8ED5F9C5-E9BC-470C-B946-397EA2FBDBDF}">
      <dgm:prSet phldrT="[Text]"/>
      <dgm:spPr>
        <a:xfrm rot="16200000">
          <a:off x="4267565" y="100948"/>
          <a:ext cx="2233401" cy="2031503"/>
        </a:xfrm>
        <a:prstGeom prst="flowChartManualOperation">
          <a:avLst/>
        </a:prstGeom>
      </dgm:spPr>
      <dgm:t>
        <a:bodyPr/>
        <a:lstStyle/>
        <a:p>
          <a:pPr algn="l"/>
          <a:r>
            <a:rPr lang="en-US" b="1" dirty="0" smtClean="0">
              <a:latin typeface="Calibri"/>
              <a:ea typeface="+mn-ea"/>
              <a:cs typeface="+mn-cs"/>
            </a:rPr>
            <a:t>    Email</a:t>
          </a:r>
        </a:p>
        <a:p>
          <a:pPr algn="l"/>
          <a:r>
            <a:rPr lang="en-US" dirty="0" smtClean="0">
              <a:latin typeface="Calibri"/>
              <a:ea typeface="+mn-ea"/>
              <a:cs typeface="+mn-cs"/>
            </a:rPr>
            <a:t>Avg. CTR on Email is </a:t>
          </a:r>
          <a:r>
            <a:rPr lang="en-US" b="1" dirty="0" smtClean="0">
              <a:latin typeface="Calibri"/>
              <a:ea typeface="+mn-ea"/>
              <a:cs typeface="+mn-cs"/>
            </a:rPr>
            <a:t>5.2%</a:t>
          </a:r>
          <a:endParaRPr lang="en-US" b="1" dirty="0">
            <a:latin typeface="Calibri"/>
            <a:ea typeface="+mn-ea"/>
            <a:cs typeface="+mn-cs"/>
          </a:endParaRPr>
        </a:p>
      </dgm:t>
    </dgm:pt>
    <dgm:pt modelId="{79F470D7-49CE-47F2-A3D5-637999321C66}" type="parTrans" cxnId="{C0736D00-BE01-4F38-9E85-4FEAB8A3E78C}">
      <dgm:prSet/>
      <dgm:spPr/>
      <dgm:t>
        <a:bodyPr/>
        <a:lstStyle/>
        <a:p>
          <a:pPr algn="l"/>
          <a:endParaRPr lang="en-US"/>
        </a:p>
      </dgm:t>
    </dgm:pt>
    <dgm:pt modelId="{78C992CE-575A-43D9-AD39-C15A3B22D39A}" type="sibTrans" cxnId="{C0736D00-BE01-4F38-9E85-4FEAB8A3E78C}">
      <dgm:prSet/>
      <dgm:spPr/>
      <dgm:t>
        <a:bodyPr/>
        <a:lstStyle/>
        <a:p>
          <a:pPr algn="l"/>
          <a:endParaRPr lang="en-US"/>
        </a:p>
      </dgm:t>
    </dgm:pt>
    <dgm:pt modelId="{B2BFC855-A2E6-4A1E-95F8-69D1A78DB871}" type="pres">
      <dgm:prSet presAssocID="{4EE36E38-92F9-4E26-9083-CF1AD6909D3D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CDF2C6A-D37F-4513-9458-76385EDF7A8E}" type="pres">
      <dgm:prSet presAssocID="{03B7CF3E-E89B-4183-9D46-14F4589076CE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DE7314-A2E5-4EE8-88A5-9FAE118EF4FD}" type="pres">
      <dgm:prSet presAssocID="{48449842-B53D-4937-842D-E3EAB240EC50}" presName="sibTrans" presStyleCnt="0"/>
      <dgm:spPr/>
      <dgm:t>
        <a:bodyPr/>
        <a:lstStyle/>
        <a:p>
          <a:endParaRPr lang="en-US"/>
        </a:p>
      </dgm:t>
    </dgm:pt>
    <dgm:pt modelId="{BFFC7DCB-2016-4FD2-AA96-98802D106F48}" type="pres">
      <dgm:prSet presAssocID="{98C0AEEE-A797-4EA8-8500-D992ECFB3E98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49B663B-0238-4FDC-927E-9D528839274D}" type="pres">
      <dgm:prSet presAssocID="{7C0DF938-77FC-4F83-9659-713EBD3394DE}" presName="sibTrans" presStyleCnt="0"/>
      <dgm:spPr/>
      <dgm:t>
        <a:bodyPr/>
        <a:lstStyle/>
        <a:p>
          <a:endParaRPr lang="en-US"/>
        </a:p>
      </dgm:t>
    </dgm:pt>
    <dgm:pt modelId="{A5342A01-5EC4-4220-A0A2-0D3DCBC2B96C}" type="pres">
      <dgm:prSet presAssocID="{8ED5F9C5-E9BC-470C-B946-397EA2FBDBDF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65BF1BF-06FC-4EA5-8082-19A448E4E267}" srcId="{4EE36E38-92F9-4E26-9083-CF1AD6909D3D}" destId="{98C0AEEE-A797-4EA8-8500-D992ECFB3E98}" srcOrd="1" destOrd="0" parTransId="{EB044F25-632B-4EF5-A080-C1B6B30559E4}" sibTransId="{7C0DF938-77FC-4F83-9659-713EBD3394DE}"/>
    <dgm:cxn modelId="{B5A642E0-3B88-45AD-B811-F3C30FD6D21A}" type="presOf" srcId="{8ED5F9C5-E9BC-470C-B946-397EA2FBDBDF}" destId="{A5342A01-5EC4-4220-A0A2-0D3DCBC2B96C}" srcOrd="0" destOrd="0" presId="urn:microsoft.com/office/officeart/2005/8/layout/hList6"/>
    <dgm:cxn modelId="{620C79EE-2A51-4B44-868B-F941D26FA2FC}" type="presOf" srcId="{4EE36E38-92F9-4E26-9083-CF1AD6909D3D}" destId="{B2BFC855-A2E6-4A1E-95F8-69D1A78DB871}" srcOrd="0" destOrd="0" presId="urn:microsoft.com/office/officeart/2005/8/layout/hList6"/>
    <dgm:cxn modelId="{54365C58-C4D5-4842-9031-6862DB9B6D90}" srcId="{4EE36E38-92F9-4E26-9083-CF1AD6909D3D}" destId="{03B7CF3E-E89B-4183-9D46-14F4589076CE}" srcOrd="0" destOrd="0" parTransId="{2BBDF0B8-400E-4E84-90D1-529C36221072}" sibTransId="{48449842-B53D-4937-842D-E3EAB240EC50}"/>
    <dgm:cxn modelId="{C0736D00-BE01-4F38-9E85-4FEAB8A3E78C}" srcId="{4EE36E38-92F9-4E26-9083-CF1AD6909D3D}" destId="{8ED5F9C5-E9BC-470C-B946-397EA2FBDBDF}" srcOrd="2" destOrd="0" parTransId="{79F470D7-49CE-47F2-A3D5-637999321C66}" sibTransId="{78C992CE-575A-43D9-AD39-C15A3B22D39A}"/>
    <dgm:cxn modelId="{15BE77E9-117C-4992-87AB-E4DC2ACE3144}" type="presOf" srcId="{98C0AEEE-A797-4EA8-8500-D992ECFB3E98}" destId="{BFFC7DCB-2016-4FD2-AA96-98802D106F48}" srcOrd="0" destOrd="0" presId="urn:microsoft.com/office/officeart/2005/8/layout/hList6"/>
    <dgm:cxn modelId="{3E2FA453-44E0-4D32-9730-1721F50B1BE7}" type="presOf" srcId="{03B7CF3E-E89B-4183-9D46-14F4589076CE}" destId="{6CDF2C6A-D37F-4513-9458-76385EDF7A8E}" srcOrd="0" destOrd="0" presId="urn:microsoft.com/office/officeart/2005/8/layout/hList6"/>
    <dgm:cxn modelId="{58617EA0-BDED-4DC8-98C1-656BACE85810}" type="presParOf" srcId="{B2BFC855-A2E6-4A1E-95F8-69D1A78DB871}" destId="{6CDF2C6A-D37F-4513-9458-76385EDF7A8E}" srcOrd="0" destOrd="0" presId="urn:microsoft.com/office/officeart/2005/8/layout/hList6"/>
    <dgm:cxn modelId="{6A558602-F9B9-48E1-B6A6-21D56A842729}" type="presParOf" srcId="{B2BFC855-A2E6-4A1E-95F8-69D1A78DB871}" destId="{ECDE7314-A2E5-4EE8-88A5-9FAE118EF4FD}" srcOrd="1" destOrd="0" presId="urn:microsoft.com/office/officeart/2005/8/layout/hList6"/>
    <dgm:cxn modelId="{6E969DDF-F92A-4025-ADF6-68EEA4C8CDC8}" type="presParOf" srcId="{B2BFC855-A2E6-4A1E-95F8-69D1A78DB871}" destId="{BFFC7DCB-2016-4FD2-AA96-98802D106F48}" srcOrd="2" destOrd="0" presId="urn:microsoft.com/office/officeart/2005/8/layout/hList6"/>
    <dgm:cxn modelId="{B60A985D-7B76-4412-9FA0-15A22B2B9163}" type="presParOf" srcId="{B2BFC855-A2E6-4A1E-95F8-69D1A78DB871}" destId="{949B663B-0238-4FDC-927E-9D528839274D}" srcOrd="3" destOrd="0" presId="urn:microsoft.com/office/officeart/2005/8/layout/hList6"/>
    <dgm:cxn modelId="{B70BAD24-3D91-4629-A691-9C1DFF964111}" type="presParOf" srcId="{B2BFC855-A2E6-4A1E-95F8-69D1A78DB871}" destId="{A5342A01-5EC4-4220-A0A2-0D3DCBC2B96C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EE36E38-92F9-4E26-9083-CF1AD6909D3D}" type="doc">
      <dgm:prSet loTypeId="urn:microsoft.com/office/officeart/2005/8/layout/vList3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3B7CF3E-E89B-4183-9D46-14F4589076CE}">
      <dgm:prSet phldrT="[Text]"/>
      <dgm:spPr>
        <a:xfrm rot="10800000">
          <a:off x="1414522" y="1950"/>
          <a:ext cx="4594086" cy="1029463"/>
        </a:xfrm>
        <a:prstGeom prst="homePlate">
          <a:avLst/>
        </a:prstGeom>
      </dgm:spPr>
      <dgm:t>
        <a:bodyPr/>
        <a:lstStyle/>
        <a:p>
          <a:pPr algn="l"/>
          <a:r>
            <a:rPr lang="en-US" sz="2100" smtClean="0">
              <a:latin typeface="Calibri"/>
              <a:ea typeface="+mn-ea"/>
              <a:cs typeface="+mn-cs"/>
            </a:rPr>
            <a:t>Search Engine</a:t>
          </a:r>
          <a:endParaRPr lang="en-US" sz="2100" dirty="0" smtClean="0">
            <a:latin typeface="Calibri"/>
            <a:ea typeface="+mn-ea"/>
            <a:cs typeface="+mn-cs"/>
          </a:endParaRPr>
        </a:p>
      </dgm:t>
    </dgm:pt>
    <dgm:pt modelId="{2BBDF0B8-400E-4E84-90D1-529C36221072}" type="parTrans" cxnId="{54365C58-C4D5-4842-9031-6862DB9B6D90}">
      <dgm:prSet/>
      <dgm:spPr/>
      <dgm:t>
        <a:bodyPr/>
        <a:lstStyle/>
        <a:p>
          <a:pPr algn="l"/>
          <a:endParaRPr lang="en-US"/>
        </a:p>
      </dgm:t>
    </dgm:pt>
    <dgm:pt modelId="{48449842-B53D-4937-842D-E3EAB240EC50}" type="sibTrans" cxnId="{54365C58-C4D5-4842-9031-6862DB9B6D90}">
      <dgm:prSet/>
      <dgm:spPr/>
      <dgm:t>
        <a:bodyPr/>
        <a:lstStyle/>
        <a:p>
          <a:pPr algn="l"/>
          <a:endParaRPr lang="en-US"/>
        </a:p>
      </dgm:t>
    </dgm:pt>
    <dgm:pt modelId="{4DD658BE-1A23-4146-919A-812159A78602}">
      <dgm:prSet phldrT="[Text]" custT="1"/>
      <dgm:spPr>
        <a:xfrm rot="10800000">
          <a:off x="1414522" y="1950"/>
          <a:ext cx="4594086" cy="1029463"/>
        </a:xfrm>
        <a:prstGeom prst="homePlate">
          <a:avLst/>
        </a:prstGeom>
      </dgm:spPr>
      <dgm:t>
        <a:bodyPr/>
        <a:lstStyle/>
        <a:p>
          <a:pPr algn="l"/>
          <a:r>
            <a:rPr lang="en-US" sz="1600" smtClean="0">
              <a:latin typeface="Calibri"/>
              <a:ea typeface="+mn-ea"/>
              <a:cs typeface="+mn-cs"/>
            </a:rPr>
            <a:t>Avg. Conv Rate on search engines is </a:t>
          </a:r>
          <a:r>
            <a:rPr lang="en-US" sz="1600" b="1" smtClean="0">
              <a:latin typeface="Calibri"/>
              <a:ea typeface="+mn-ea"/>
              <a:cs typeface="+mn-cs"/>
            </a:rPr>
            <a:t>2.50%</a:t>
          </a:r>
          <a:endParaRPr lang="en-US" sz="1600" b="1" dirty="0">
            <a:latin typeface="Calibri"/>
            <a:ea typeface="+mn-ea"/>
            <a:cs typeface="+mn-cs"/>
          </a:endParaRPr>
        </a:p>
      </dgm:t>
    </dgm:pt>
    <dgm:pt modelId="{E5B31A5B-DC42-4C6E-BEB5-94315761F8CF}" type="parTrans" cxnId="{A88C2360-FDBC-4946-8360-149EDF6EF77C}">
      <dgm:prSet/>
      <dgm:spPr/>
      <dgm:t>
        <a:bodyPr/>
        <a:lstStyle/>
        <a:p>
          <a:pPr algn="l"/>
          <a:endParaRPr lang="en-US"/>
        </a:p>
      </dgm:t>
    </dgm:pt>
    <dgm:pt modelId="{0135B8CB-7EF5-4FC7-AE13-F4304DC50A71}" type="sibTrans" cxnId="{A88C2360-FDBC-4946-8360-149EDF6EF77C}">
      <dgm:prSet/>
      <dgm:spPr/>
      <dgm:t>
        <a:bodyPr/>
        <a:lstStyle/>
        <a:p>
          <a:pPr algn="l"/>
          <a:endParaRPr lang="en-US"/>
        </a:p>
      </dgm:t>
    </dgm:pt>
    <dgm:pt modelId="{98C0AEEE-A797-4EA8-8500-D992ECFB3E98}">
      <dgm:prSet phldrT="[Text]"/>
      <dgm:spPr>
        <a:xfrm rot="10800000">
          <a:off x="1414522" y="1338716"/>
          <a:ext cx="4594086" cy="1029463"/>
        </a:xfrm>
        <a:prstGeom prst="homePlate">
          <a:avLst/>
        </a:prstGeom>
      </dgm:spPr>
      <dgm:t>
        <a:bodyPr/>
        <a:lstStyle/>
        <a:p>
          <a:pPr algn="l"/>
          <a:r>
            <a:rPr lang="en-US" smtClean="0">
              <a:latin typeface="Calibri"/>
              <a:ea typeface="+mn-ea"/>
              <a:cs typeface="+mn-cs"/>
            </a:rPr>
            <a:t>Social Media</a:t>
          </a:r>
          <a:endParaRPr lang="en-US" dirty="0" smtClean="0">
            <a:latin typeface="Calibri"/>
            <a:ea typeface="+mn-ea"/>
            <a:cs typeface="+mn-cs"/>
          </a:endParaRPr>
        </a:p>
      </dgm:t>
    </dgm:pt>
    <dgm:pt modelId="{EB044F25-632B-4EF5-A080-C1B6B30559E4}" type="parTrans" cxnId="{C65BF1BF-06FC-4EA5-8082-19A448E4E267}">
      <dgm:prSet/>
      <dgm:spPr/>
      <dgm:t>
        <a:bodyPr/>
        <a:lstStyle/>
        <a:p>
          <a:pPr algn="l"/>
          <a:endParaRPr lang="en-US"/>
        </a:p>
      </dgm:t>
    </dgm:pt>
    <dgm:pt modelId="{7C0DF938-77FC-4F83-9659-713EBD3394DE}" type="sibTrans" cxnId="{C65BF1BF-06FC-4EA5-8082-19A448E4E267}">
      <dgm:prSet/>
      <dgm:spPr/>
      <dgm:t>
        <a:bodyPr/>
        <a:lstStyle/>
        <a:p>
          <a:pPr algn="l"/>
          <a:endParaRPr lang="en-US"/>
        </a:p>
      </dgm:t>
    </dgm:pt>
    <dgm:pt modelId="{4DE6367F-66A9-4CD7-ABB4-16B521AD3D36}">
      <dgm:prSet phldrT="[Text]"/>
      <dgm:spPr>
        <a:xfrm rot="10800000">
          <a:off x="1414522" y="1338716"/>
          <a:ext cx="4594086" cy="1029463"/>
        </a:xfrm>
        <a:prstGeom prst="homePlate">
          <a:avLst/>
        </a:prstGeom>
      </dgm:spPr>
      <dgm:t>
        <a:bodyPr/>
        <a:lstStyle/>
        <a:p>
          <a:pPr algn="l"/>
          <a:r>
            <a:rPr lang="en-US" smtClean="0">
              <a:latin typeface="Calibri"/>
              <a:ea typeface="+mn-ea"/>
              <a:cs typeface="+mn-cs"/>
            </a:rPr>
            <a:t>Avg. Conv Rate on social media is </a:t>
          </a:r>
          <a:r>
            <a:rPr lang="en-US" b="1" smtClean="0">
              <a:latin typeface="Calibri"/>
              <a:ea typeface="+mn-ea"/>
              <a:cs typeface="+mn-cs"/>
            </a:rPr>
            <a:t>0.60%</a:t>
          </a:r>
          <a:endParaRPr lang="en-US" b="1" dirty="0">
            <a:latin typeface="Calibri"/>
            <a:ea typeface="+mn-ea"/>
            <a:cs typeface="+mn-cs"/>
          </a:endParaRPr>
        </a:p>
      </dgm:t>
    </dgm:pt>
    <dgm:pt modelId="{1D0CB7D8-F01C-48DA-995B-3F3DB18DE391}" type="parTrans" cxnId="{E3F15E93-57A2-44C6-B63B-F2287DE21AC9}">
      <dgm:prSet/>
      <dgm:spPr/>
      <dgm:t>
        <a:bodyPr/>
        <a:lstStyle/>
        <a:p>
          <a:pPr algn="l"/>
          <a:endParaRPr lang="en-US"/>
        </a:p>
      </dgm:t>
    </dgm:pt>
    <dgm:pt modelId="{82882949-12BB-4546-80CD-5E04906B4356}" type="sibTrans" cxnId="{E3F15E93-57A2-44C6-B63B-F2287DE21AC9}">
      <dgm:prSet/>
      <dgm:spPr/>
      <dgm:t>
        <a:bodyPr/>
        <a:lstStyle/>
        <a:p>
          <a:pPr algn="l"/>
          <a:endParaRPr lang="en-US"/>
        </a:p>
      </dgm:t>
    </dgm:pt>
    <dgm:pt modelId="{8ED5F9C5-E9BC-470C-B946-397EA2FBDBDF}">
      <dgm:prSet phldrT="[Text]"/>
      <dgm:spPr>
        <a:xfrm rot="10800000">
          <a:off x="1414522" y="2675481"/>
          <a:ext cx="4594086" cy="1029463"/>
        </a:xfrm>
        <a:prstGeom prst="homePlate">
          <a:avLst/>
        </a:prstGeom>
      </dgm:spPr>
      <dgm:t>
        <a:bodyPr/>
        <a:lstStyle/>
        <a:p>
          <a:pPr algn="l"/>
          <a:r>
            <a:rPr lang="en-US" smtClean="0">
              <a:latin typeface="Calibri"/>
              <a:ea typeface="+mn-ea"/>
              <a:cs typeface="+mn-cs"/>
            </a:rPr>
            <a:t>Email</a:t>
          </a:r>
          <a:endParaRPr lang="en-US" dirty="0">
            <a:latin typeface="Calibri"/>
            <a:ea typeface="+mn-ea"/>
            <a:cs typeface="+mn-cs"/>
          </a:endParaRPr>
        </a:p>
      </dgm:t>
    </dgm:pt>
    <dgm:pt modelId="{79F470D7-49CE-47F2-A3D5-637999321C66}" type="parTrans" cxnId="{C0736D00-BE01-4F38-9E85-4FEAB8A3E78C}">
      <dgm:prSet/>
      <dgm:spPr/>
      <dgm:t>
        <a:bodyPr/>
        <a:lstStyle/>
        <a:p>
          <a:pPr algn="l"/>
          <a:endParaRPr lang="en-US"/>
        </a:p>
      </dgm:t>
    </dgm:pt>
    <dgm:pt modelId="{78C992CE-575A-43D9-AD39-C15A3B22D39A}" type="sibTrans" cxnId="{C0736D00-BE01-4F38-9E85-4FEAB8A3E78C}">
      <dgm:prSet/>
      <dgm:spPr/>
      <dgm:t>
        <a:bodyPr/>
        <a:lstStyle/>
        <a:p>
          <a:pPr algn="l"/>
          <a:endParaRPr lang="en-US"/>
        </a:p>
      </dgm:t>
    </dgm:pt>
    <dgm:pt modelId="{0FC32669-F28E-4BD4-BC86-9578EB927807}">
      <dgm:prSet phldrT="[Text]"/>
      <dgm:spPr>
        <a:xfrm rot="10800000">
          <a:off x="1414522" y="2675481"/>
          <a:ext cx="4594086" cy="1029463"/>
        </a:xfrm>
        <a:prstGeom prst="homePlate">
          <a:avLst/>
        </a:prstGeom>
      </dgm:spPr>
      <dgm:t>
        <a:bodyPr/>
        <a:lstStyle/>
        <a:p>
          <a:pPr algn="l"/>
          <a:r>
            <a:rPr lang="en-US" smtClean="0">
              <a:latin typeface="Calibri"/>
              <a:ea typeface="+mn-ea"/>
              <a:cs typeface="+mn-cs"/>
            </a:rPr>
            <a:t>Avg. Conv Rate on Email is </a:t>
          </a:r>
          <a:r>
            <a:rPr lang="en-US" b="1" smtClean="0">
              <a:latin typeface="Calibri"/>
              <a:ea typeface="+mn-ea"/>
              <a:cs typeface="+mn-cs"/>
            </a:rPr>
            <a:t>4.25</a:t>
          </a:r>
          <a:r>
            <a:rPr lang="en-US" smtClean="0">
              <a:latin typeface="Calibri"/>
              <a:ea typeface="+mn-ea"/>
              <a:cs typeface="+mn-cs"/>
            </a:rPr>
            <a:t>%</a:t>
          </a:r>
          <a:endParaRPr lang="en-US" dirty="0">
            <a:latin typeface="Calibri"/>
            <a:ea typeface="+mn-ea"/>
            <a:cs typeface="+mn-cs"/>
          </a:endParaRPr>
        </a:p>
      </dgm:t>
    </dgm:pt>
    <dgm:pt modelId="{3BFFE1D9-4852-40CF-A78F-634C04936C3D}" type="parTrans" cxnId="{943BB295-C865-4454-B00C-894E3E2DDD95}">
      <dgm:prSet/>
      <dgm:spPr/>
      <dgm:t>
        <a:bodyPr/>
        <a:lstStyle/>
        <a:p>
          <a:pPr algn="l"/>
          <a:endParaRPr lang="en-US"/>
        </a:p>
      </dgm:t>
    </dgm:pt>
    <dgm:pt modelId="{AB1048D6-47F0-4C09-8EC0-40E407597486}" type="sibTrans" cxnId="{943BB295-C865-4454-B00C-894E3E2DDD95}">
      <dgm:prSet/>
      <dgm:spPr/>
      <dgm:t>
        <a:bodyPr/>
        <a:lstStyle/>
        <a:p>
          <a:pPr algn="l"/>
          <a:endParaRPr lang="en-US"/>
        </a:p>
      </dgm:t>
    </dgm:pt>
    <dgm:pt modelId="{C7F29324-303D-4A48-A1BF-BF5DA475B3A4}" type="pres">
      <dgm:prSet presAssocID="{4EE36E38-92F9-4E26-9083-CF1AD6909D3D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A41CA75-FFCC-4A46-9BB6-C86AB2E90E3E}" type="pres">
      <dgm:prSet presAssocID="{03B7CF3E-E89B-4183-9D46-14F4589076CE}" presName="composite" presStyleCnt="0"/>
      <dgm:spPr/>
      <dgm:t>
        <a:bodyPr/>
        <a:lstStyle/>
        <a:p>
          <a:endParaRPr lang="en-US"/>
        </a:p>
      </dgm:t>
    </dgm:pt>
    <dgm:pt modelId="{5C0FC5B9-993A-45C4-9B88-D023F91AC3FF}" type="pres">
      <dgm:prSet presAssocID="{03B7CF3E-E89B-4183-9D46-14F4589076CE}" presName="imgShp" presStyleLbl="fgImgPlace1" presStyleIdx="0" presStyleCnt="3"/>
      <dgm:spPr>
        <a:xfrm>
          <a:off x="899791" y="1950"/>
          <a:ext cx="1029463" cy="1029463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03CFE2A6-7BF3-4859-823A-1233AC52C7EB}" type="pres">
      <dgm:prSet presAssocID="{03B7CF3E-E89B-4183-9D46-14F4589076CE}" presName="tx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C647031-A6BB-47B0-8FCF-97351BAB5C8C}" type="pres">
      <dgm:prSet presAssocID="{48449842-B53D-4937-842D-E3EAB240EC50}" presName="spacing" presStyleCnt="0"/>
      <dgm:spPr/>
      <dgm:t>
        <a:bodyPr/>
        <a:lstStyle/>
        <a:p>
          <a:endParaRPr lang="en-US"/>
        </a:p>
      </dgm:t>
    </dgm:pt>
    <dgm:pt modelId="{595ACF80-4827-419F-A742-B2AFBE1FF172}" type="pres">
      <dgm:prSet presAssocID="{98C0AEEE-A797-4EA8-8500-D992ECFB3E98}" presName="composite" presStyleCnt="0"/>
      <dgm:spPr/>
      <dgm:t>
        <a:bodyPr/>
        <a:lstStyle/>
        <a:p>
          <a:endParaRPr lang="en-US"/>
        </a:p>
      </dgm:t>
    </dgm:pt>
    <dgm:pt modelId="{E7AF023A-6002-4F72-8A34-BAD14932966D}" type="pres">
      <dgm:prSet presAssocID="{98C0AEEE-A797-4EA8-8500-D992ECFB3E98}" presName="imgShp" presStyleLbl="fgImgPlace1" presStyleIdx="1" presStyleCnt="3"/>
      <dgm:spPr>
        <a:xfrm>
          <a:off x="899791" y="1338716"/>
          <a:ext cx="1029463" cy="1029463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1DBED99A-E540-4C7F-8A83-6AEFFA090674}" type="pres">
      <dgm:prSet presAssocID="{98C0AEEE-A797-4EA8-8500-D992ECFB3E98}" presName="tx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3DAA717-E26E-488C-8417-5D27465C3EBA}" type="pres">
      <dgm:prSet presAssocID="{7C0DF938-77FC-4F83-9659-713EBD3394DE}" presName="spacing" presStyleCnt="0"/>
      <dgm:spPr/>
      <dgm:t>
        <a:bodyPr/>
        <a:lstStyle/>
        <a:p>
          <a:endParaRPr lang="en-US"/>
        </a:p>
      </dgm:t>
    </dgm:pt>
    <dgm:pt modelId="{D44DED71-C2B4-48E3-AE36-056E4FB12A5A}" type="pres">
      <dgm:prSet presAssocID="{8ED5F9C5-E9BC-470C-B946-397EA2FBDBDF}" presName="composite" presStyleCnt="0"/>
      <dgm:spPr/>
      <dgm:t>
        <a:bodyPr/>
        <a:lstStyle/>
        <a:p>
          <a:endParaRPr lang="en-US"/>
        </a:p>
      </dgm:t>
    </dgm:pt>
    <dgm:pt modelId="{4F2A8715-4BBF-4863-AEAB-19B66CF9FF11}" type="pres">
      <dgm:prSet presAssocID="{8ED5F9C5-E9BC-470C-B946-397EA2FBDBDF}" presName="imgShp" presStyleLbl="fgImgPlace1" presStyleIdx="2" presStyleCnt="3"/>
      <dgm:spPr>
        <a:xfrm>
          <a:off x="899791" y="2675481"/>
          <a:ext cx="1029463" cy="1029463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C88CE509-2FCA-41D2-BBD2-97FFEADAEAB2}" type="pres">
      <dgm:prSet presAssocID="{8ED5F9C5-E9BC-470C-B946-397EA2FBDBDF}" presName="tx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F66E92C-4C0E-41E9-BF73-2CB26974FE9B}" type="presOf" srcId="{4EE36E38-92F9-4E26-9083-CF1AD6909D3D}" destId="{C7F29324-303D-4A48-A1BF-BF5DA475B3A4}" srcOrd="0" destOrd="0" presId="urn:microsoft.com/office/officeart/2005/8/layout/vList3"/>
    <dgm:cxn modelId="{943BB295-C865-4454-B00C-894E3E2DDD95}" srcId="{8ED5F9C5-E9BC-470C-B946-397EA2FBDBDF}" destId="{0FC32669-F28E-4BD4-BC86-9578EB927807}" srcOrd="0" destOrd="0" parTransId="{3BFFE1D9-4852-40CF-A78F-634C04936C3D}" sibTransId="{AB1048D6-47F0-4C09-8EC0-40E407597486}"/>
    <dgm:cxn modelId="{54365C58-C4D5-4842-9031-6862DB9B6D90}" srcId="{4EE36E38-92F9-4E26-9083-CF1AD6909D3D}" destId="{03B7CF3E-E89B-4183-9D46-14F4589076CE}" srcOrd="0" destOrd="0" parTransId="{2BBDF0B8-400E-4E84-90D1-529C36221072}" sibTransId="{48449842-B53D-4937-842D-E3EAB240EC50}"/>
    <dgm:cxn modelId="{E3F15E93-57A2-44C6-B63B-F2287DE21AC9}" srcId="{98C0AEEE-A797-4EA8-8500-D992ECFB3E98}" destId="{4DE6367F-66A9-4CD7-ABB4-16B521AD3D36}" srcOrd="0" destOrd="0" parTransId="{1D0CB7D8-F01C-48DA-995B-3F3DB18DE391}" sibTransId="{82882949-12BB-4546-80CD-5E04906B4356}"/>
    <dgm:cxn modelId="{3AFA16A7-B0C4-4929-AA2B-B433CC8AF8E2}" type="presOf" srcId="{8ED5F9C5-E9BC-470C-B946-397EA2FBDBDF}" destId="{C88CE509-2FCA-41D2-BBD2-97FFEADAEAB2}" srcOrd="0" destOrd="0" presId="urn:microsoft.com/office/officeart/2005/8/layout/vList3"/>
    <dgm:cxn modelId="{A88C2360-FDBC-4946-8360-149EDF6EF77C}" srcId="{03B7CF3E-E89B-4183-9D46-14F4589076CE}" destId="{4DD658BE-1A23-4146-919A-812159A78602}" srcOrd="0" destOrd="0" parTransId="{E5B31A5B-DC42-4C6E-BEB5-94315761F8CF}" sibTransId="{0135B8CB-7EF5-4FC7-AE13-F4304DC50A71}"/>
    <dgm:cxn modelId="{F578299F-AE4E-400A-835C-17AEC2498287}" type="presOf" srcId="{4DE6367F-66A9-4CD7-ABB4-16B521AD3D36}" destId="{1DBED99A-E540-4C7F-8A83-6AEFFA090674}" srcOrd="0" destOrd="1" presId="urn:microsoft.com/office/officeart/2005/8/layout/vList3"/>
    <dgm:cxn modelId="{E9E21048-0860-413D-BF54-AD565E7EF997}" type="presOf" srcId="{03B7CF3E-E89B-4183-9D46-14F4589076CE}" destId="{03CFE2A6-7BF3-4859-823A-1233AC52C7EB}" srcOrd="0" destOrd="0" presId="urn:microsoft.com/office/officeart/2005/8/layout/vList3"/>
    <dgm:cxn modelId="{BC517E54-E179-46AC-BE54-4F8D38FA3659}" type="presOf" srcId="{0FC32669-F28E-4BD4-BC86-9578EB927807}" destId="{C88CE509-2FCA-41D2-BBD2-97FFEADAEAB2}" srcOrd="0" destOrd="1" presId="urn:microsoft.com/office/officeart/2005/8/layout/vList3"/>
    <dgm:cxn modelId="{C4EFD72D-B3C5-4D01-ABF5-65A8F8A569E9}" type="presOf" srcId="{98C0AEEE-A797-4EA8-8500-D992ECFB3E98}" destId="{1DBED99A-E540-4C7F-8A83-6AEFFA090674}" srcOrd="0" destOrd="0" presId="urn:microsoft.com/office/officeart/2005/8/layout/vList3"/>
    <dgm:cxn modelId="{C65BF1BF-06FC-4EA5-8082-19A448E4E267}" srcId="{4EE36E38-92F9-4E26-9083-CF1AD6909D3D}" destId="{98C0AEEE-A797-4EA8-8500-D992ECFB3E98}" srcOrd="1" destOrd="0" parTransId="{EB044F25-632B-4EF5-A080-C1B6B30559E4}" sibTransId="{7C0DF938-77FC-4F83-9659-713EBD3394DE}"/>
    <dgm:cxn modelId="{993BC2D3-D467-4475-BEAF-CC4BD197C1F3}" type="presOf" srcId="{4DD658BE-1A23-4146-919A-812159A78602}" destId="{03CFE2A6-7BF3-4859-823A-1233AC52C7EB}" srcOrd="0" destOrd="1" presId="urn:microsoft.com/office/officeart/2005/8/layout/vList3"/>
    <dgm:cxn modelId="{C0736D00-BE01-4F38-9E85-4FEAB8A3E78C}" srcId="{4EE36E38-92F9-4E26-9083-CF1AD6909D3D}" destId="{8ED5F9C5-E9BC-470C-B946-397EA2FBDBDF}" srcOrd="2" destOrd="0" parTransId="{79F470D7-49CE-47F2-A3D5-637999321C66}" sibTransId="{78C992CE-575A-43D9-AD39-C15A3B22D39A}"/>
    <dgm:cxn modelId="{72CA3915-FEA3-4ABE-BA55-27C22571DFC2}" type="presParOf" srcId="{C7F29324-303D-4A48-A1BF-BF5DA475B3A4}" destId="{EA41CA75-FFCC-4A46-9BB6-C86AB2E90E3E}" srcOrd="0" destOrd="0" presId="urn:microsoft.com/office/officeart/2005/8/layout/vList3"/>
    <dgm:cxn modelId="{679929DA-1B07-4F3B-9034-1A869077AD9C}" type="presParOf" srcId="{EA41CA75-FFCC-4A46-9BB6-C86AB2E90E3E}" destId="{5C0FC5B9-993A-45C4-9B88-D023F91AC3FF}" srcOrd="0" destOrd="0" presId="urn:microsoft.com/office/officeart/2005/8/layout/vList3"/>
    <dgm:cxn modelId="{7B9081AD-5F96-4B92-A6E9-BFADA09B3A7C}" type="presParOf" srcId="{EA41CA75-FFCC-4A46-9BB6-C86AB2E90E3E}" destId="{03CFE2A6-7BF3-4859-823A-1233AC52C7EB}" srcOrd="1" destOrd="0" presId="urn:microsoft.com/office/officeart/2005/8/layout/vList3"/>
    <dgm:cxn modelId="{3994FCFD-0BD1-45E1-B31C-6FC2FA38229F}" type="presParOf" srcId="{C7F29324-303D-4A48-A1BF-BF5DA475B3A4}" destId="{1C647031-A6BB-47B0-8FCF-97351BAB5C8C}" srcOrd="1" destOrd="0" presId="urn:microsoft.com/office/officeart/2005/8/layout/vList3"/>
    <dgm:cxn modelId="{7820952B-3613-4D36-A6C1-E4B7033F1E15}" type="presParOf" srcId="{C7F29324-303D-4A48-A1BF-BF5DA475B3A4}" destId="{595ACF80-4827-419F-A742-B2AFBE1FF172}" srcOrd="2" destOrd="0" presId="urn:microsoft.com/office/officeart/2005/8/layout/vList3"/>
    <dgm:cxn modelId="{E12B7E05-64F5-414D-B1E4-B89A56D58FEA}" type="presParOf" srcId="{595ACF80-4827-419F-A742-B2AFBE1FF172}" destId="{E7AF023A-6002-4F72-8A34-BAD14932966D}" srcOrd="0" destOrd="0" presId="urn:microsoft.com/office/officeart/2005/8/layout/vList3"/>
    <dgm:cxn modelId="{06BB54EA-660D-46AE-8806-1541A91055AB}" type="presParOf" srcId="{595ACF80-4827-419F-A742-B2AFBE1FF172}" destId="{1DBED99A-E540-4C7F-8A83-6AEFFA090674}" srcOrd="1" destOrd="0" presId="urn:microsoft.com/office/officeart/2005/8/layout/vList3"/>
    <dgm:cxn modelId="{CD3CB9BC-85E2-4CD2-8266-E3D8173766D8}" type="presParOf" srcId="{C7F29324-303D-4A48-A1BF-BF5DA475B3A4}" destId="{83DAA717-E26E-488C-8417-5D27465C3EBA}" srcOrd="3" destOrd="0" presId="urn:microsoft.com/office/officeart/2005/8/layout/vList3"/>
    <dgm:cxn modelId="{BFAD82A0-292B-4793-89E6-E71DECF1FF04}" type="presParOf" srcId="{C7F29324-303D-4A48-A1BF-BF5DA475B3A4}" destId="{D44DED71-C2B4-48E3-AE36-056E4FB12A5A}" srcOrd="4" destOrd="0" presId="urn:microsoft.com/office/officeart/2005/8/layout/vList3"/>
    <dgm:cxn modelId="{08F0FBCD-6E1A-4650-A4FE-119DD0A36015}" type="presParOf" srcId="{D44DED71-C2B4-48E3-AE36-056E4FB12A5A}" destId="{4F2A8715-4BBF-4863-AEAB-19B66CF9FF11}" srcOrd="0" destOrd="0" presId="urn:microsoft.com/office/officeart/2005/8/layout/vList3"/>
    <dgm:cxn modelId="{6905C3F1-B6F1-40A1-A8AC-68B57CA6CEAD}" type="presParOf" srcId="{D44DED71-C2B4-48E3-AE36-056E4FB12A5A}" destId="{C88CE509-2FCA-41D2-BBD2-97FFEADAEAB2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F93FF2F-2E5B-4DC6-B91C-4CB378537F5D}" type="doc">
      <dgm:prSet loTypeId="urn:microsoft.com/office/officeart/2005/8/layout/hierarchy3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1B4D6130-D6B2-4EA5-AEF4-69916EACD097}">
      <dgm:prSet phldrT="[Text]"/>
      <dgm:spPr>
        <a:xfrm>
          <a:off x="600147" y="4589"/>
          <a:ext cx="2163669" cy="1081834"/>
        </a:xfrm>
        <a:prstGeom prst="roundRect">
          <a:avLst>
            <a:gd name="adj" fmla="val 10000"/>
          </a:avLst>
        </a:prstGeom>
      </dgm:spPr>
      <dgm:t>
        <a:bodyPr/>
        <a:lstStyle/>
        <a:p>
          <a:r>
            <a:rPr lang="en-IN" smtClean="0">
              <a:latin typeface="Calibri"/>
              <a:ea typeface="+mn-ea"/>
              <a:cs typeface="+mn-cs"/>
            </a:rPr>
            <a:t>Twitter	</a:t>
          </a:r>
          <a:endParaRPr lang="en-IN" dirty="0">
            <a:latin typeface="Calibri"/>
            <a:ea typeface="+mn-ea"/>
            <a:cs typeface="+mn-cs"/>
          </a:endParaRPr>
        </a:p>
      </dgm:t>
    </dgm:pt>
    <dgm:pt modelId="{CA1DDECA-B74C-4402-BEAE-76C504672240}" type="parTrans" cxnId="{EB96E1D3-AFC1-41FB-BD6C-95CCC1B64125}">
      <dgm:prSet/>
      <dgm:spPr/>
      <dgm:t>
        <a:bodyPr/>
        <a:lstStyle/>
        <a:p>
          <a:endParaRPr lang="en-IN"/>
        </a:p>
      </dgm:t>
    </dgm:pt>
    <dgm:pt modelId="{B5410D01-B03D-4092-A1B1-16871A68D3E4}" type="sibTrans" cxnId="{EB96E1D3-AFC1-41FB-BD6C-95CCC1B64125}">
      <dgm:prSet/>
      <dgm:spPr/>
      <dgm:t>
        <a:bodyPr/>
        <a:lstStyle/>
        <a:p>
          <a:endParaRPr lang="en-IN"/>
        </a:p>
      </dgm:t>
    </dgm:pt>
    <dgm:pt modelId="{78449434-03F3-4CA0-9599-462D45D880CB}">
      <dgm:prSet phldrT="[Text]" custT="1"/>
      <dgm:spPr>
        <a:xfrm>
          <a:off x="1164952" y="1262806"/>
          <a:ext cx="1730935" cy="1081834"/>
        </a:xfrm>
        <a:prstGeom prst="roundRect">
          <a:avLst>
            <a:gd name="adj" fmla="val 10000"/>
          </a:avLst>
        </a:prstGeom>
      </dgm:spPr>
      <dgm:t>
        <a:bodyPr/>
        <a:lstStyle/>
        <a:p>
          <a:r>
            <a:rPr lang="en-US" sz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Twitter people use to find interesting things and see what the people you follow are saying. </a:t>
          </a:r>
          <a:endParaRPr lang="en-IN" sz="1200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B968BCB-2BA6-4923-8784-270C2D95120A}" type="parTrans" cxnId="{AF8207E3-8D62-4BBC-BAA5-A89B568CB7B7}">
      <dgm:prSet/>
      <dgm:spPr>
        <a:xfrm>
          <a:off x="816514" y="1086423"/>
          <a:ext cx="348437" cy="7172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7299"/>
              </a:lnTo>
              <a:lnTo>
                <a:pt x="348437" y="717299"/>
              </a:lnTo>
            </a:path>
          </a:pathLst>
        </a:custGeom>
      </dgm:spPr>
      <dgm:t>
        <a:bodyPr/>
        <a:lstStyle/>
        <a:p>
          <a:endParaRPr lang="en-IN"/>
        </a:p>
      </dgm:t>
    </dgm:pt>
    <dgm:pt modelId="{9298E77A-A2F3-4626-BFA3-B7C020CCC305}" type="sibTrans" cxnId="{AF8207E3-8D62-4BBC-BAA5-A89B568CB7B7}">
      <dgm:prSet/>
      <dgm:spPr/>
      <dgm:t>
        <a:bodyPr/>
        <a:lstStyle/>
        <a:p>
          <a:endParaRPr lang="en-IN"/>
        </a:p>
      </dgm:t>
    </dgm:pt>
    <dgm:pt modelId="{D4C751EF-738C-49A2-BE91-76E1A0C64DB2}">
      <dgm:prSet phldrT="[Text]" custT="1"/>
      <dgm:spPr>
        <a:xfrm>
          <a:off x="1206373" y="2637417"/>
          <a:ext cx="1730935" cy="1081834"/>
        </a:xfrm>
        <a:prstGeom prst="roundRect">
          <a:avLst>
            <a:gd name="adj" fmla="val 10000"/>
          </a:avLst>
        </a:prstGeom>
      </dgm:spPr>
      <dgm:t>
        <a:bodyPr/>
        <a:lstStyle/>
        <a:p>
          <a:r>
            <a:rPr lang="en-US" sz="1200" smtClean="0">
              <a:latin typeface="Tahoma" pitchFamily="34" charset="0"/>
              <a:ea typeface="Tahoma" pitchFamily="34" charset="0"/>
              <a:cs typeface="Tahoma" pitchFamily="34" charset="0"/>
            </a:rPr>
            <a:t>Brands use the medium to engage users in conversations by doing contests and other promotional activities</a:t>
          </a:r>
          <a:endParaRPr lang="en-IN" sz="1200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49FFF75F-2867-40BE-A5C2-DF7E0A00D435}" type="parTrans" cxnId="{A2147BFF-3CA0-4716-BFEC-C35081A7EC87}">
      <dgm:prSet/>
      <dgm:spPr>
        <a:xfrm>
          <a:off x="816514" y="1086423"/>
          <a:ext cx="389858" cy="20919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91911"/>
              </a:lnTo>
              <a:lnTo>
                <a:pt x="389858" y="2091911"/>
              </a:lnTo>
            </a:path>
          </a:pathLst>
        </a:custGeom>
      </dgm:spPr>
      <dgm:t>
        <a:bodyPr/>
        <a:lstStyle/>
        <a:p>
          <a:endParaRPr lang="en-IN"/>
        </a:p>
      </dgm:t>
    </dgm:pt>
    <dgm:pt modelId="{8583AFDC-47E0-4574-AB05-3178779A65B6}" type="sibTrans" cxnId="{A2147BFF-3CA0-4716-BFEC-C35081A7EC87}">
      <dgm:prSet/>
      <dgm:spPr/>
      <dgm:t>
        <a:bodyPr/>
        <a:lstStyle/>
        <a:p>
          <a:endParaRPr lang="en-IN"/>
        </a:p>
      </dgm:t>
    </dgm:pt>
    <dgm:pt modelId="{C9C9F78E-EAAA-4B45-BD89-E4E062DF7A51}">
      <dgm:prSet phldrT="[Text]"/>
      <dgm:spPr>
        <a:xfrm>
          <a:off x="5907715" y="0"/>
          <a:ext cx="2163669" cy="1081834"/>
        </a:xfrm>
        <a:prstGeom prst="roundRect">
          <a:avLst>
            <a:gd name="adj" fmla="val 10000"/>
          </a:avLst>
        </a:prstGeom>
      </dgm:spPr>
      <dgm:t>
        <a:bodyPr/>
        <a:lstStyle/>
        <a:p>
          <a:r>
            <a:rPr lang="en-IN" dirty="0" smtClean="0">
              <a:latin typeface="Calibri"/>
              <a:ea typeface="+mn-ea"/>
              <a:cs typeface="+mn-cs"/>
            </a:rPr>
            <a:t>Facebook</a:t>
          </a:r>
          <a:endParaRPr lang="en-IN" dirty="0">
            <a:latin typeface="Calibri"/>
            <a:ea typeface="+mn-ea"/>
            <a:cs typeface="+mn-cs"/>
          </a:endParaRPr>
        </a:p>
      </dgm:t>
    </dgm:pt>
    <dgm:pt modelId="{FBAB419A-AA42-43C9-8D00-46FDB1F9317D}" type="parTrans" cxnId="{4716BD5E-7816-4302-9CDB-DBC4F7A6F020}">
      <dgm:prSet/>
      <dgm:spPr/>
      <dgm:t>
        <a:bodyPr/>
        <a:lstStyle/>
        <a:p>
          <a:endParaRPr lang="en-IN"/>
        </a:p>
      </dgm:t>
    </dgm:pt>
    <dgm:pt modelId="{1C73AAF4-16BD-42F2-BA68-64D6F093875D}" type="sibTrans" cxnId="{4716BD5E-7816-4302-9CDB-DBC4F7A6F020}">
      <dgm:prSet/>
      <dgm:spPr/>
      <dgm:t>
        <a:bodyPr/>
        <a:lstStyle/>
        <a:p>
          <a:endParaRPr lang="en-IN"/>
        </a:p>
      </dgm:t>
    </dgm:pt>
    <dgm:pt modelId="{190CE853-3A5D-456C-8691-FB744B4A4A7E}">
      <dgm:prSet phldrT="[Text]" custT="1"/>
      <dgm:spPr>
        <a:xfrm>
          <a:off x="6507847" y="1293627"/>
          <a:ext cx="1730935" cy="1081834"/>
        </a:xfrm>
        <a:prstGeom prst="roundRect">
          <a:avLst>
            <a:gd name="adj" fmla="val 10000"/>
          </a:avLst>
        </a:prstGeom>
      </dgm:spPr>
      <dgm:t>
        <a:bodyPr/>
        <a:lstStyle/>
        <a:p>
          <a:r>
            <a:rPr lang="en-US" sz="1200" smtClean="0">
              <a:latin typeface="Tahoma" pitchFamily="34" charset="0"/>
              <a:ea typeface="Tahoma" pitchFamily="34" charset="0"/>
              <a:cs typeface="Tahoma" pitchFamily="34" charset="0"/>
            </a:rPr>
            <a:t>Facebook people use primarily to interact with friends and share their stuff</a:t>
          </a:r>
          <a:endParaRPr lang="en-IN" sz="1200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26A9B6D-FBE5-4EA1-BEA2-8B71337CA4B6}" type="parTrans" cxnId="{5DC72AC2-7755-4B87-9FC5-457780EB235A}">
      <dgm:prSet/>
      <dgm:spPr>
        <a:xfrm>
          <a:off x="6124082" y="1081834"/>
          <a:ext cx="383765" cy="7527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52710"/>
              </a:lnTo>
              <a:lnTo>
                <a:pt x="383765" y="752710"/>
              </a:lnTo>
            </a:path>
          </a:pathLst>
        </a:custGeom>
      </dgm:spPr>
      <dgm:t>
        <a:bodyPr/>
        <a:lstStyle/>
        <a:p>
          <a:endParaRPr lang="en-IN"/>
        </a:p>
      </dgm:t>
    </dgm:pt>
    <dgm:pt modelId="{AFD3A98E-AB1B-4EBD-8BE6-AECF9FF1EBAC}" type="sibTrans" cxnId="{5DC72AC2-7755-4B87-9FC5-457780EB235A}">
      <dgm:prSet/>
      <dgm:spPr/>
      <dgm:t>
        <a:bodyPr/>
        <a:lstStyle/>
        <a:p>
          <a:endParaRPr lang="en-IN"/>
        </a:p>
      </dgm:t>
    </dgm:pt>
    <dgm:pt modelId="{171D6742-4452-4BA3-96EA-64DA5E35184F}">
      <dgm:prSet phldrT="[Text]" custT="1"/>
      <dgm:spPr>
        <a:xfrm>
          <a:off x="6553683" y="2629228"/>
          <a:ext cx="1730935" cy="1081834"/>
        </a:xfrm>
        <a:prstGeom prst="roundRect">
          <a:avLst>
            <a:gd name="adj" fmla="val 10000"/>
          </a:avLst>
        </a:prstGeom>
      </dgm:spPr>
      <dgm:t>
        <a:bodyPr/>
        <a:lstStyle/>
        <a:p>
          <a:r>
            <a:rPr lang="en-US" sz="1200" smtClean="0">
              <a:latin typeface="Tahoma" pitchFamily="34" charset="0"/>
              <a:ea typeface="Tahoma" pitchFamily="34" charset="0"/>
              <a:cs typeface="Tahoma" pitchFamily="34" charset="0"/>
            </a:rPr>
            <a:t>Brands use the medium to put relevant ads to attract user attention </a:t>
          </a:r>
          <a:endParaRPr lang="en-IN" sz="1200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B8A0F16-4FDC-4E08-BDE1-D7859881EB2E}" type="parTrans" cxnId="{B8D94A52-1AE0-42ED-858B-56E743B06753}">
      <dgm:prSet/>
      <dgm:spPr>
        <a:xfrm>
          <a:off x="6124082" y="1081834"/>
          <a:ext cx="429600" cy="20883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88310"/>
              </a:lnTo>
              <a:lnTo>
                <a:pt x="429600" y="2088310"/>
              </a:lnTo>
            </a:path>
          </a:pathLst>
        </a:custGeom>
      </dgm:spPr>
      <dgm:t>
        <a:bodyPr/>
        <a:lstStyle/>
        <a:p>
          <a:endParaRPr lang="en-IN"/>
        </a:p>
      </dgm:t>
    </dgm:pt>
    <dgm:pt modelId="{39BBF8C7-5B89-430F-84A5-B5126C9FAF35}" type="sibTrans" cxnId="{B8D94A52-1AE0-42ED-858B-56E743B06753}">
      <dgm:prSet/>
      <dgm:spPr/>
      <dgm:t>
        <a:bodyPr/>
        <a:lstStyle/>
        <a:p>
          <a:endParaRPr lang="en-IN"/>
        </a:p>
      </dgm:t>
    </dgm:pt>
    <dgm:pt modelId="{F41D69CF-1F8D-4CA9-9C9E-694B804C2664}" type="pres">
      <dgm:prSet presAssocID="{9F93FF2F-2E5B-4DC6-B91C-4CB378537F5D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14105B2C-B8F1-4E0A-ACB1-305A17552C64}" type="pres">
      <dgm:prSet presAssocID="{1B4D6130-D6B2-4EA5-AEF4-69916EACD097}" presName="root" presStyleCnt="0"/>
      <dgm:spPr/>
      <dgm:t>
        <a:bodyPr/>
        <a:lstStyle/>
        <a:p>
          <a:endParaRPr lang="en-US"/>
        </a:p>
      </dgm:t>
    </dgm:pt>
    <dgm:pt modelId="{2F338181-7742-4186-80CE-BA27F804A25B}" type="pres">
      <dgm:prSet presAssocID="{1B4D6130-D6B2-4EA5-AEF4-69916EACD097}" presName="rootComposite" presStyleCnt="0"/>
      <dgm:spPr/>
      <dgm:t>
        <a:bodyPr/>
        <a:lstStyle/>
        <a:p>
          <a:endParaRPr lang="en-US"/>
        </a:p>
      </dgm:t>
    </dgm:pt>
    <dgm:pt modelId="{05498D30-FA5D-419E-9F86-AC05ECE5C882}" type="pres">
      <dgm:prSet presAssocID="{1B4D6130-D6B2-4EA5-AEF4-69916EACD097}" presName="rootText" presStyleLbl="node1" presStyleIdx="0" presStyleCnt="2" custLinFactNeighborX="-55556" custLinFactNeighborY="205"/>
      <dgm:spPr/>
      <dgm:t>
        <a:bodyPr/>
        <a:lstStyle/>
        <a:p>
          <a:endParaRPr lang="en-IN"/>
        </a:p>
      </dgm:t>
    </dgm:pt>
    <dgm:pt modelId="{8DC35C16-BD5E-445E-AA4B-B1CB7FA15417}" type="pres">
      <dgm:prSet presAssocID="{1B4D6130-D6B2-4EA5-AEF4-69916EACD097}" presName="rootConnector" presStyleLbl="node1" presStyleIdx="0" presStyleCnt="2"/>
      <dgm:spPr/>
      <dgm:t>
        <a:bodyPr/>
        <a:lstStyle/>
        <a:p>
          <a:endParaRPr lang="en-US"/>
        </a:p>
      </dgm:t>
    </dgm:pt>
    <dgm:pt modelId="{AE971F35-3E64-4A01-8AA8-8DB323895ABA}" type="pres">
      <dgm:prSet presAssocID="{1B4D6130-D6B2-4EA5-AEF4-69916EACD097}" presName="childShape" presStyleCnt="0"/>
      <dgm:spPr/>
      <dgm:t>
        <a:bodyPr/>
        <a:lstStyle/>
        <a:p>
          <a:endParaRPr lang="en-US"/>
        </a:p>
      </dgm:t>
    </dgm:pt>
    <dgm:pt modelId="{33BE53B7-E347-48FF-B6F8-FAE31BFAF8C1}" type="pres">
      <dgm:prSet presAssocID="{5B968BCB-2BA6-4923-8784-270C2D95120A}" presName="Name13" presStyleLbl="parChTrans1D2" presStyleIdx="0" presStyleCnt="4"/>
      <dgm:spPr/>
      <dgm:t>
        <a:bodyPr/>
        <a:lstStyle/>
        <a:p>
          <a:endParaRPr lang="en-US"/>
        </a:p>
      </dgm:t>
    </dgm:pt>
    <dgm:pt modelId="{E1E307E6-8AB7-44CE-AAE3-26A3FB2A0D70}" type="pres">
      <dgm:prSet presAssocID="{78449434-03F3-4CA0-9599-462D45D880CB}" presName="childText" presStyleLbl="bgAcc1" presStyleIdx="0" presStyleCnt="4" custLinFactNeighborX="-61815" custLinFactNeighborY="-849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D343D17-A942-4D52-B690-1A4A3533B754}" type="pres">
      <dgm:prSet presAssocID="{49FFF75F-2867-40BE-A5C2-DF7E0A00D435}" presName="Name13" presStyleLbl="parChTrans1D2" presStyleIdx="1" presStyleCnt="4"/>
      <dgm:spPr/>
      <dgm:t>
        <a:bodyPr/>
        <a:lstStyle/>
        <a:p>
          <a:endParaRPr lang="en-US"/>
        </a:p>
      </dgm:t>
    </dgm:pt>
    <dgm:pt modelId="{C505CF97-FCAB-4A12-BC94-DA520C3BA307}" type="pres">
      <dgm:prSet presAssocID="{D4C751EF-738C-49A2-BE91-76E1A0C64DB2}" presName="childText" presStyleLbl="bgAcc1" presStyleIdx="1" presStyleCnt="4" custLinFactNeighborX="-59422" custLinFactNeighborY="-642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56B8445-874E-41D2-97A9-8D05318B9E22}" type="pres">
      <dgm:prSet presAssocID="{C9C9F78E-EAAA-4B45-BD89-E4E062DF7A51}" presName="root" presStyleCnt="0"/>
      <dgm:spPr/>
      <dgm:t>
        <a:bodyPr/>
        <a:lstStyle/>
        <a:p>
          <a:endParaRPr lang="en-US"/>
        </a:p>
      </dgm:t>
    </dgm:pt>
    <dgm:pt modelId="{43399C17-BE4A-46B3-BB24-23C53D8A0B28}" type="pres">
      <dgm:prSet presAssocID="{C9C9F78E-EAAA-4B45-BD89-E4E062DF7A51}" presName="rootComposite" presStyleCnt="0"/>
      <dgm:spPr/>
      <dgm:t>
        <a:bodyPr/>
        <a:lstStyle/>
        <a:p>
          <a:endParaRPr lang="en-US"/>
        </a:p>
      </dgm:t>
    </dgm:pt>
    <dgm:pt modelId="{20A353A6-85FC-4C17-A051-60001FC61A8D}" type="pres">
      <dgm:prSet presAssocID="{C9C9F78E-EAAA-4B45-BD89-E4E062DF7A51}" presName="rootText" presStyleLbl="node1" presStyleIdx="1" presStyleCnt="2" custLinFactNeighborX="64748" custLinFactNeighborY="-964"/>
      <dgm:spPr/>
      <dgm:t>
        <a:bodyPr/>
        <a:lstStyle/>
        <a:p>
          <a:endParaRPr lang="en-US"/>
        </a:p>
      </dgm:t>
    </dgm:pt>
    <dgm:pt modelId="{44A6EF04-90A2-44CB-A199-FFDDFED82BC8}" type="pres">
      <dgm:prSet presAssocID="{C9C9F78E-EAAA-4B45-BD89-E4E062DF7A51}" presName="rootConnector" presStyleLbl="node1" presStyleIdx="1" presStyleCnt="2"/>
      <dgm:spPr/>
      <dgm:t>
        <a:bodyPr/>
        <a:lstStyle/>
        <a:p>
          <a:endParaRPr lang="en-US"/>
        </a:p>
      </dgm:t>
    </dgm:pt>
    <dgm:pt modelId="{E881E2B9-639D-4E0A-949D-72341CBAD830}" type="pres">
      <dgm:prSet presAssocID="{C9C9F78E-EAAA-4B45-BD89-E4E062DF7A51}" presName="childShape" presStyleCnt="0"/>
      <dgm:spPr/>
      <dgm:t>
        <a:bodyPr/>
        <a:lstStyle/>
        <a:p>
          <a:endParaRPr lang="en-US"/>
        </a:p>
      </dgm:t>
    </dgm:pt>
    <dgm:pt modelId="{9D14CC75-3A82-4C85-B289-02ABE01560FC}" type="pres">
      <dgm:prSet presAssocID="{E26A9B6D-FBE5-4EA1-BEA2-8B71337CA4B6}" presName="Name13" presStyleLbl="parChTrans1D2" presStyleIdx="2" presStyleCnt="4"/>
      <dgm:spPr/>
      <dgm:t>
        <a:bodyPr/>
        <a:lstStyle/>
        <a:p>
          <a:endParaRPr lang="en-US"/>
        </a:p>
      </dgm:t>
    </dgm:pt>
    <dgm:pt modelId="{03DFFBA4-90B8-41DA-B9B8-0ABFE4C1E85F}" type="pres">
      <dgm:prSet presAssocID="{190CE853-3A5D-456C-8691-FB744B4A4A7E}" presName="childText" presStyleLbl="bgAcc1" presStyleIdx="2" presStyleCnt="4" custLinFactNeighborX="90606" custLinFactNeighborY="-5642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1624A1A-EE98-4991-AE75-38C86EB79A73}" type="pres">
      <dgm:prSet presAssocID="{7B8A0F16-4FDC-4E08-BDE1-D7859881EB2E}" presName="Name13" presStyleLbl="parChTrans1D2" presStyleIdx="3" presStyleCnt="4"/>
      <dgm:spPr/>
      <dgm:t>
        <a:bodyPr/>
        <a:lstStyle/>
        <a:p>
          <a:endParaRPr lang="en-US"/>
        </a:p>
      </dgm:t>
    </dgm:pt>
    <dgm:pt modelId="{42DF7C38-9562-42B1-9F99-92D92D532444}" type="pres">
      <dgm:prSet presAssocID="{171D6742-4452-4BA3-96EA-64DA5E35184F}" presName="childText" presStyleLbl="bgAcc1" presStyleIdx="3" presStyleCnt="4" custLinFactNeighborX="93254" custLinFactNeighborY="-718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842418AA-1EE4-4687-A212-98292FF3E279}" type="presOf" srcId="{D4C751EF-738C-49A2-BE91-76E1A0C64DB2}" destId="{C505CF97-FCAB-4A12-BC94-DA520C3BA307}" srcOrd="0" destOrd="0" presId="urn:microsoft.com/office/officeart/2005/8/layout/hierarchy3"/>
    <dgm:cxn modelId="{070FEDDA-6D27-42FD-AA62-459805CCA7E8}" type="presOf" srcId="{5B968BCB-2BA6-4923-8784-270C2D95120A}" destId="{33BE53B7-E347-48FF-B6F8-FAE31BFAF8C1}" srcOrd="0" destOrd="0" presId="urn:microsoft.com/office/officeart/2005/8/layout/hierarchy3"/>
    <dgm:cxn modelId="{C2282D9D-7F8F-4D59-A136-84898F17634B}" type="presOf" srcId="{49FFF75F-2867-40BE-A5C2-DF7E0A00D435}" destId="{ED343D17-A942-4D52-B690-1A4A3533B754}" srcOrd="0" destOrd="0" presId="urn:microsoft.com/office/officeart/2005/8/layout/hierarchy3"/>
    <dgm:cxn modelId="{8515A1F7-7E00-4FB2-B120-F265EC9B3084}" type="presOf" srcId="{1B4D6130-D6B2-4EA5-AEF4-69916EACD097}" destId="{05498D30-FA5D-419E-9F86-AC05ECE5C882}" srcOrd="0" destOrd="0" presId="urn:microsoft.com/office/officeart/2005/8/layout/hierarchy3"/>
    <dgm:cxn modelId="{0451C573-7C6D-4D30-8A52-DBA68BFCFEEF}" type="presOf" srcId="{190CE853-3A5D-456C-8691-FB744B4A4A7E}" destId="{03DFFBA4-90B8-41DA-B9B8-0ABFE4C1E85F}" srcOrd="0" destOrd="0" presId="urn:microsoft.com/office/officeart/2005/8/layout/hierarchy3"/>
    <dgm:cxn modelId="{70B28DEA-34D5-4AFB-8B15-CA6488DF8B71}" type="presOf" srcId="{E26A9B6D-FBE5-4EA1-BEA2-8B71337CA4B6}" destId="{9D14CC75-3A82-4C85-B289-02ABE01560FC}" srcOrd="0" destOrd="0" presId="urn:microsoft.com/office/officeart/2005/8/layout/hierarchy3"/>
    <dgm:cxn modelId="{5DC72AC2-7755-4B87-9FC5-457780EB235A}" srcId="{C9C9F78E-EAAA-4B45-BD89-E4E062DF7A51}" destId="{190CE853-3A5D-456C-8691-FB744B4A4A7E}" srcOrd="0" destOrd="0" parTransId="{E26A9B6D-FBE5-4EA1-BEA2-8B71337CA4B6}" sibTransId="{AFD3A98E-AB1B-4EBD-8BE6-AECF9FF1EBAC}"/>
    <dgm:cxn modelId="{A2147BFF-3CA0-4716-BFEC-C35081A7EC87}" srcId="{1B4D6130-D6B2-4EA5-AEF4-69916EACD097}" destId="{D4C751EF-738C-49A2-BE91-76E1A0C64DB2}" srcOrd="1" destOrd="0" parTransId="{49FFF75F-2867-40BE-A5C2-DF7E0A00D435}" sibTransId="{8583AFDC-47E0-4574-AB05-3178779A65B6}"/>
    <dgm:cxn modelId="{EB96E1D3-AFC1-41FB-BD6C-95CCC1B64125}" srcId="{9F93FF2F-2E5B-4DC6-B91C-4CB378537F5D}" destId="{1B4D6130-D6B2-4EA5-AEF4-69916EACD097}" srcOrd="0" destOrd="0" parTransId="{CA1DDECA-B74C-4402-BEAE-76C504672240}" sibTransId="{B5410D01-B03D-4092-A1B1-16871A68D3E4}"/>
    <dgm:cxn modelId="{AF8207E3-8D62-4BBC-BAA5-A89B568CB7B7}" srcId="{1B4D6130-D6B2-4EA5-AEF4-69916EACD097}" destId="{78449434-03F3-4CA0-9599-462D45D880CB}" srcOrd="0" destOrd="0" parTransId="{5B968BCB-2BA6-4923-8784-270C2D95120A}" sibTransId="{9298E77A-A2F3-4626-BFA3-B7C020CCC305}"/>
    <dgm:cxn modelId="{4716BD5E-7816-4302-9CDB-DBC4F7A6F020}" srcId="{9F93FF2F-2E5B-4DC6-B91C-4CB378537F5D}" destId="{C9C9F78E-EAAA-4B45-BD89-E4E062DF7A51}" srcOrd="1" destOrd="0" parTransId="{FBAB419A-AA42-43C9-8D00-46FDB1F9317D}" sibTransId="{1C73AAF4-16BD-42F2-BA68-64D6F093875D}"/>
    <dgm:cxn modelId="{751B2B33-27FE-4F16-B4B9-580E5F22CE72}" type="presOf" srcId="{1B4D6130-D6B2-4EA5-AEF4-69916EACD097}" destId="{8DC35C16-BD5E-445E-AA4B-B1CB7FA15417}" srcOrd="1" destOrd="0" presId="urn:microsoft.com/office/officeart/2005/8/layout/hierarchy3"/>
    <dgm:cxn modelId="{4674F5A5-853D-4637-A5E1-49588D1C0284}" type="presOf" srcId="{C9C9F78E-EAAA-4B45-BD89-E4E062DF7A51}" destId="{20A353A6-85FC-4C17-A051-60001FC61A8D}" srcOrd="0" destOrd="0" presId="urn:microsoft.com/office/officeart/2005/8/layout/hierarchy3"/>
    <dgm:cxn modelId="{285BD18B-4C92-4026-BF8B-C6267A4728B1}" type="presOf" srcId="{7B8A0F16-4FDC-4E08-BDE1-D7859881EB2E}" destId="{D1624A1A-EE98-4991-AE75-38C86EB79A73}" srcOrd="0" destOrd="0" presId="urn:microsoft.com/office/officeart/2005/8/layout/hierarchy3"/>
    <dgm:cxn modelId="{370D5CA1-78B7-42E3-AEA0-DC0A0BD9445B}" type="presOf" srcId="{C9C9F78E-EAAA-4B45-BD89-E4E062DF7A51}" destId="{44A6EF04-90A2-44CB-A199-FFDDFED82BC8}" srcOrd="1" destOrd="0" presId="urn:microsoft.com/office/officeart/2005/8/layout/hierarchy3"/>
    <dgm:cxn modelId="{B8D94A52-1AE0-42ED-858B-56E743B06753}" srcId="{C9C9F78E-EAAA-4B45-BD89-E4E062DF7A51}" destId="{171D6742-4452-4BA3-96EA-64DA5E35184F}" srcOrd="1" destOrd="0" parTransId="{7B8A0F16-4FDC-4E08-BDE1-D7859881EB2E}" sibTransId="{39BBF8C7-5B89-430F-84A5-B5126C9FAF35}"/>
    <dgm:cxn modelId="{DA43D6E0-1C02-4FEE-AB06-A0A045E69CB6}" type="presOf" srcId="{171D6742-4452-4BA3-96EA-64DA5E35184F}" destId="{42DF7C38-9562-42B1-9F99-92D92D532444}" srcOrd="0" destOrd="0" presId="urn:microsoft.com/office/officeart/2005/8/layout/hierarchy3"/>
    <dgm:cxn modelId="{4B9675CD-4BE3-4BDF-B7E8-79E3BB0A32E5}" type="presOf" srcId="{9F93FF2F-2E5B-4DC6-B91C-4CB378537F5D}" destId="{F41D69CF-1F8D-4CA9-9C9E-694B804C2664}" srcOrd="0" destOrd="0" presId="urn:microsoft.com/office/officeart/2005/8/layout/hierarchy3"/>
    <dgm:cxn modelId="{07A91E8A-9F82-4971-844F-43A586A7C4BE}" type="presOf" srcId="{78449434-03F3-4CA0-9599-462D45D880CB}" destId="{E1E307E6-8AB7-44CE-AAE3-26A3FB2A0D70}" srcOrd="0" destOrd="0" presId="urn:microsoft.com/office/officeart/2005/8/layout/hierarchy3"/>
    <dgm:cxn modelId="{ABDB6DE0-3319-4D7D-84DE-66DD0947CBEE}" type="presParOf" srcId="{F41D69CF-1F8D-4CA9-9C9E-694B804C2664}" destId="{14105B2C-B8F1-4E0A-ACB1-305A17552C64}" srcOrd="0" destOrd="0" presId="urn:microsoft.com/office/officeart/2005/8/layout/hierarchy3"/>
    <dgm:cxn modelId="{43C8AB89-6662-4D22-B5C7-B91CE01DAFBD}" type="presParOf" srcId="{14105B2C-B8F1-4E0A-ACB1-305A17552C64}" destId="{2F338181-7742-4186-80CE-BA27F804A25B}" srcOrd="0" destOrd="0" presId="urn:microsoft.com/office/officeart/2005/8/layout/hierarchy3"/>
    <dgm:cxn modelId="{FAE363A9-1E13-4947-BD55-453C8B67B93E}" type="presParOf" srcId="{2F338181-7742-4186-80CE-BA27F804A25B}" destId="{05498D30-FA5D-419E-9F86-AC05ECE5C882}" srcOrd="0" destOrd="0" presId="urn:microsoft.com/office/officeart/2005/8/layout/hierarchy3"/>
    <dgm:cxn modelId="{8091C5D5-071E-4255-9A98-4E8A8BE70B3C}" type="presParOf" srcId="{2F338181-7742-4186-80CE-BA27F804A25B}" destId="{8DC35C16-BD5E-445E-AA4B-B1CB7FA15417}" srcOrd="1" destOrd="0" presId="urn:microsoft.com/office/officeart/2005/8/layout/hierarchy3"/>
    <dgm:cxn modelId="{1872D94E-CF29-4D02-91DB-12B69E060A8C}" type="presParOf" srcId="{14105B2C-B8F1-4E0A-ACB1-305A17552C64}" destId="{AE971F35-3E64-4A01-8AA8-8DB323895ABA}" srcOrd="1" destOrd="0" presId="urn:microsoft.com/office/officeart/2005/8/layout/hierarchy3"/>
    <dgm:cxn modelId="{ECCD7F7E-3BD9-4A85-9497-C80565BDA4A8}" type="presParOf" srcId="{AE971F35-3E64-4A01-8AA8-8DB323895ABA}" destId="{33BE53B7-E347-48FF-B6F8-FAE31BFAF8C1}" srcOrd="0" destOrd="0" presId="urn:microsoft.com/office/officeart/2005/8/layout/hierarchy3"/>
    <dgm:cxn modelId="{DF705826-CBE9-48A6-94FA-75F0AED43DFD}" type="presParOf" srcId="{AE971F35-3E64-4A01-8AA8-8DB323895ABA}" destId="{E1E307E6-8AB7-44CE-AAE3-26A3FB2A0D70}" srcOrd="1" destOrd="0" presId="urn:microsoft.com/office/officeart/2005/8/layout/hierarchy3"/>
    <dgm:cxn modelId="{71B6E62A-601B-4A51-91CF-886241F2B3DF}" type="presParOf" srcId="{AE971F35-3E64-4A01-8AA8-8DB323895ABA}" destId="{ED343D17-A942-4D52-B690-1A4A3533B754}" srcOrd="2" destOrd="0" presId="urn:microsoft.com/office/officeart/2005/8/layout/hierarchy3"/>
    <dgm:cxn modelId="{38C074F7-AD8D-4935-B93E-D5A274FFA647}" type="presParOf" srcId="{AE971F35-3E64-4A01-8AA8-8DB323895ABA}" destId="{C505CF97-FCAB-4A12-BC94-DA520C3BA307}" srcOrd="3" destOrd="0" presId="urn:microsoft.com/office/officeart/2005/8/layout/hierarchy3"/>
    <dgm:cxn modelId="{1B236992-55F2-47BB-8DE1-3BDE801D9F5B}" type="presParOf" srcId="{F41D69CF-1F8D-4CA9-9C9E-694B804C2664}" destId="{456B8445-874E-41D2-97A9-8D05318B9E22}" srcOrd="1" destOrd="0" presId="urn:microsoft.com/office/officeart/2005/8/layout/hierarchy3"/>
    <dgm:cxn modelId="{248B4D5E-5A59-4E48-AEB1-6EFDD1CC2DF6}" type="presParOf" srcId="{456B8445-874E-41D2-97A9-8D05318B9E22}" destId="{43399C17-BE4A-46B3-BB24-23C53D8A0B28}" srcOrd="0" destOrd="0" presId="urn:microsoft.com/office/officeart/2005/8/layout/hierarchy3"/>
    <dgm:cxn modelId="{CA921F40-CDC5-4BE3-A468-AE5D6B38EE3D}" type="presParOf" srcId="{43399C17-BE4A-46B3-BB24-23C53D8A0B28}" destId="{20A353A6-85FC-4C17-A051-60001FC61A8D}" srcOrd="0" destOrd="0" presId="urn:microsoft.com/office/officeart/2005/8/layout/hierarchy3"/>
    <dgm:cxn modelId="{A7E82FB5-538C-44B8-BA39-710AE2F52605}" type="presParOf" srcId="{43399C17-BE4A-46B3-BB24-23C53D8A0B28}" destId="{44A6EF04-90A2-44CB-A199-FFDDFED82BC8}" srcOrd="1" destOrd="0" presId="urn:microsoft.com/office/officeart/2005/8/layout/hierarchy3"/>
    <dgm:cxn modelId="{F097EEC4-492A-4024-BBA5-A9DECDA6B083}" type="presParOf" srcId="{456B8445-874E-41D2-97A9-8D05318B9E22}" destId="{E881E2B9-639D-4E0A-949D-72341CBAD830}" srcOrd="1" destOrd="0" presId="urn:microsoft.com/office/officeart/2005/8/layout/hierarchy3"/>
    <dgm:cxn modelId="{4C2E1EB8-7C92-405F-BD4B-280839F17074}" type="presParOf" srcId="{E881E2B9-639D-4E0A-949D-72341CBAD830}" destId="{9D14CC75-3A82-4C85-B289-02ABE01560FC}" srcOrd="0" destOrd="0" presId="urn:microsoft.com/office/officeart/2005/8/layout/hierarchy3"/>
    <dgm:cxn modelId="{AB2F0BF4-813F-4145-9783-655B27D1CD0D}" type="presParOf" srcId="{E881E2B9-639D-4E0A-949D-72341CBAD830}" destId="{03DFFBA4-90B8-41DA-B9B8-0ABFE4C1E85F}" srcOrd="1" destOrd="0" presId="urn:microsoft.com/office/officeart/2005/8/layout/hierarchy3"/>
    <dgm:cxn modelId="{A22F5662-EC75-4A6A-9091-62AFF197D621}" type="presParOf" srcId="{E881E2B9-639D-4E0A-949D-72341CBAD830}" destId="{D1624A1A-EE98-4991-AE75-38C86EB79A73}" srcOrd="2" destOrd="0" presId="urn:microsoft.com/office/officeart/2005/8/layout/hierarchy3"/>
    <dgm:cxn modelId="{6D63D6E0-1C93-43AE-A8E3-C39F3A781CE4}" type="presParOf" srcId="{E881E2B9-639D-4E0A-949D-72341CBAD830}" destId="{42DF7C38-9562-42B1-9F99-92D92D532444}" srcOrd="3" destOrd="0" presId="urn:microsoft.com/office/officeart/2005/8/layout/hierarchy3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D65A8BF-DF26-42E4-BA3D-C2B36A8322B9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C1B12C5-E543-41A3-BC23-EF57B121DC30}">
      <dgm:prSet phldrT="[Text]" custT="1"/>
      <dgm:spPr>
        <a:xfrm>
          <a:off x="112122" y="1125564"/>
          <a:ext cx="6578534" cy="962090"/>
        </a:xfrm>
      </dgm:spPr>
      <dgm:t>
        <a:bodyPr/>
        <a:lstStyle/>
        <a:p>
          <a:r>
            <a:rPr lang="en-US" sz="1800" dirty="0" smtClean="0">
              <a:latin typeface="Calibri"/>
              <a:ea typeface="+mn-ea"/>
              <a:cs typeface="+mn-cs"/>
            </a:rPr>
            <a:t>Email is much more transactional in nature where a user expects a message from her subscribed website and you can have a 1:1 conversation with a user</a:t>
          </a:r>
          <a:endParaRPr lang="en-US" sz="1800" dirty="0">
            <a:latin typeface="Calibri"/>
            <a:ea typeface="+mn-ea"/>
            <a:cs typeface="+mn-cs"/>
          </a:endParaRPr>
        </a:p>
      </dgm:t>
    </dgm:pt>
    <dgm:pt modelId="{E9148BBF-6B9B-40FE-B8DF-7F5E03B75658}" type="parTrans" cxnId="{97877911-5BA4-4885-B296-6441ED9458A7}">
      <dgm:prSet/>
      <dgm:spPr/>
      <dgm:t>
        <a:bodyPr/>
        <a:lstStyle/>
        <a:p>
          <a:endParaRPr lang="en-US"/>
        </a:p>
      </dgm:t>
    </dgm:pt>
    <dgm:pt modelId="{43CFBE9F-094F-4A58-86A2-CDCF836D7242}" type="sibTrans" cxnId="{97877911-5BA4-4885-B296-6441ED9458A7}">
      <dgm:prSet/>
      <dgm:spPr/>
      <dgm:t>
        <a:bodyPr/>
        <a:lstStyle/>
        <a:p>
          <a:endParaRPr lang="en-US"/>
        </a:p>
      </dgm:t>
    </dgm:pt>
    <dgm:pt modelId="{0465DCA1-BA11-4061-9EC9-1FD46FC7FEE4}">
      <dgm:prSet phldrT="[Text]" custT="1"/>
      <dgm:spPr>
        <a:xfrm>
          <a:off x="112122" y="3008580"/>
          <a:ext cx="6578534" cy="962090"/>
        </a:xfrm>
      </dgm:spPr>
      <dgm:t>
        <a:bodyPr/>
        <a:lstStyle/>
        <a:p>
          <a:r>
            <a:rPr lang="en-US" sz="1800" dirty="0" smtClean="0">
              <a:latin typeface="Calibri"/>
              <a:ea typeface="+mn-ea"/>
              <a:cs typeface="+mn-cs"/>
            </a:rPr>
            <a:t>In email you can gradually send an appropriate message to a user depending on where the user is in the Sales Lifecycle</a:t>
          </a:r>
          <a:endParaRPr lang="en-US" sz="1800" dirty="0">
            <a:solidFill>
              <a:srgbClr val="262626">
                <a:hueOff val="0"/>
                <a:satOff val="0"/>
                <a:lumOff val="0"/>
                <a:alphaOff val="0"/>
              </a:srgbClr>
            </a:solidFill>
            <a:latin typeface="Calibri"/>
            <a:ea typeface="+mn-ea"/>
            <a:cs typeface="+mn-cs"/>
          </a:endParaRPr>
        </a:p>
      </dgm:t>
    </dgm:pt>
    <dgm:pt modelId="{AF76ACE9-6041-4053-BC4A-14AA43C7E1D0}" type="parTrans" cxnId="{25EC0AB5-828C-453B-B956-CB6EC3BA4618}">
      <dgm:prSet/>
      <dgm:spPr/>
      <dgm:t>
        <a:bodyPr/>
        <a:lstStyle/>
        <a:p>
          <a:endParaRPr lang="en-US"/>
        </a:p>
      </dgm:t>
    </dgm:pt>
    <dgm:pt modelId="{C10BB39F-7106-4DB9-992B-7160B2B7AF05}" type="sibTrans" cxnId="{25EC0AB5-828C-453B-B956-CB6EC3BA4618}">
      <dgm:prSet/>
      <dgm:spPr/>
      <dgm:t>
        <a:bodyPr/>
        <a:lstStyle/>
        <a:p>
          <a:endParaRPr lang="en-US"/>
        </a:p>
      </dgm:t>
    </dgm:pt>
    <dgm:pt modelId="{A0408ECF-DE10-4F06-9998-E74F4071E48F}">
      <dgm:prSet phldrT="[Text]" custT="1"/>
      <dgm:spPr>
        <a:xfrm>
          <a:off x="112122" y="3008580"/>
          <a:ext cx="6578534" cy="962090"/>
        </a:xfrm>
      </dgm:spPr>
      <dgm:t>
        <a:bodyPr/>
        <a:lstStyle/>
        <a:p>
          <a:endParaRPr lang="en-US" sz="1800" dirty="0">
            <a:solidFill>
              <a:srgbClr val="262626">
                <a:hueOff val="0"/>
                <a:satOff val="0"/>
                <a:lumOff val="0"/>
                <a:alphaOff val="0"/>
              </a:srgbClr>
            </a:solidFill>
            <a:latin typeface="Calibri"/>
            <a:ea typeface="+mn-ea"/>
            <a:cs typeface="+mn-cs"/>
          </a:endParaRPr>
        </a:p>
      </dgm:t>
    </dgm:pt>
    <dgm:pt modelId="{C624D004-629D-4D87-845A-29024E4D31CA}" type="parTrans" cxnId="{48B61165-CA48-49D5-A873-430A03202358}">
      <dgm:prSet/>
      <dgm:spPr/>
      <dgm:t>
        <a:bodyPr/>
        <a:lstStyle/>
        <a:p>
          <a:endParaRPr lang="en-US"/>
        </a:p>
      </dgm:t>
    </dgm:pt>
    <dgm:pt modelId="{2D68546C-0AD5-4684-BE3E-4E5F85059CEA}" type="sibTrans" cxnId="{48B61165-CA48-49D5-A873-430A03202358}">
      <dgm:prSet/>
      <dgm:spPr/>
      <dgm:t>
        <a:bodyPr/>
        <a:lstStyle/>
        <a:p>
          <a:endParaRPr lang="en-US"/>
        </a:p>
      </dgm:t>
    </dgm:pt>
    <dgm:pt modelId="{A431A7E8-DCFF-49E3-B5C7-2F5AC88746C6}">
      <dgm:prSet phldrT="[Text]"/>
      <dgm:spPr>
        <a:xfrm>
          <a:off x="112122" y="2297945"/>
          <a:ext cx="6494110" cy="590373"/>
        </a:xfrm>
      </dgm:spPr>
      <dgm:t>
        <a:bodyPr/>
        <a:lstStyle/>
        <a:p>
          <a:r>
            <a:rPr lang="en-US" smtClean="0">
              <a:latin typeface="Calibri"/>
              <a:ea typeface="+mn-ea"/>
              <a:cs typeface="+mn-cs"/>
            </a:rPr>
            <a:t>Based on Sales Lifecycle</a:t>
          </a:r>
          <a:endParaRPr lang="en-US" dirty="0">
            <a:latin typeface="Calibri"/>
            <a:ea typeface="+mn-ea"/>
            <a:cs typeface="+mn-cs"/>
          </a:endParaRPr>
        </a:p>
      </dgm:t>
    </dgm:pt>
    <dgm:pt modelId="{E3E42104-E39F-4304-AD6C-8CA910F90CA2}" type="sibTrans" cxnId="{2B0040E3-03FD-4B60-B013-354EE5C1F3B1}">
      <dgm:prSet/>
      <dgm:spPr/>
      <dgm:t>
        <a:bodyPr/>
        <a:lstStyle/>
        <a:p>
          <a:endParaRPr lang="en-US"/>
        </a:p>
      </dgm:t>
    </dgm:pt>
    <dgm:pt modelId="{61C5794B-295C-41FC-B0AB-FF18B5F62518}" type="parTrans" cxnId="{2B0040E3-03FD-4B60-B013-354EE5C1F3B1}">
      <dgm:prSet/>
      <dgm:spPr/>
      <dgm:t>
        <a:bodyPr/>
        <a:lstStyle/>
        <a:p>
          <a:endParaRPr lang="en-US"/>
        </a:p>
      </dgm:t>
    </dgm:pt>
    <dgm:pt modelId="{BB469530-573F-4E3D-87E0-8116181A0E61}">
      <dgm:prSet phldrT="[Text]"/>
      <dgm:spPr>
        <a:xfrm>
          <a:off x="112122" y="414929"/>
          <a:ext cx="6494110" cy="590373"/>
        </a:xfrm>
      </dgm:spPr>
      <dgm:t>
        <a:bodyPr/>
        <a:lstStyle/>
        <a:p>
          <a:r>
            <a:rPr lang="en-US" smtClean="0">
              <a:latin typeface="Calibri"/>
              <a:ea typeface="+mn-ea"/>
              <a:cs typeface="+mn-cs"/>
            </a:rPr>
            <a:t>More Transactional</a:t>
          </a:r>
          <a:endParaRPr lang="en-US" dirty="0">
            <a:latin typeface="Calibri"/>
            <a:ea typeface="+mn-ea"/>
            <a:cs typeface="+mn-cs"/>
          </a:endParaRPr>
        </a:p>
      </dgm:t>
    </dgm:pt>
    <dgm:pt modelId="{846E36E3-AF8B-4230-AC2C-69426C28B6E2}" type="sibTrans" cxnId="{B76359B4-1B88-4BF6-9295-E51D8297237F}">
      <dgm:prSet/>
      <dgm:spPr/>
      <dgm:t>
        <a:bodyPr/>
        <a:lstStyle/>
        <a:p>
          <a:endParaRPr lang="en-US"/>
        </a:p>
      </dgm:t>
    </dgm:pt>
    <dgm:pt modelId="{240F4EAB-45CF-4E8C-889C-51F1B6190D9D}" type="parTrans" cxnId="{B76359B4-1B88-4BF6-9295-E51D8297237F}">
      <dgm:prSet/>
      <dgm:spPr/>
      <dgm:t>
        <a:bodyPr/>
        <a:lstStyle/>
        <a:p>
          <a:endParaRPr lang="en-US"/>
        </a:p>
      </dgm:t>
    </dgm:pt>
    <dgm:pt modelId="{F40241DC-075B-4135-8641-33A6DFEB36F9}" type="pres">
      <dgm:prSet presAssocID="{6D65A8BF-DF26-42E4-BA3D-C2B36A8322B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B496048-F01E-42E3-8605-95CE08D994AA}" type="pres">
      <dgm:prSet presAssocID="{BB469530-573F-4E3D-87E0-8116181A0E61}" presName="composite" presStyleCnt="0"/>
      <dgm:spPr/>
    </dgm:pt>
    <dgm:pt modelId="{2D844244-20A0-4298-8467-D68191BA41D5}" type="pres">
      <dgm:prSet presAssocID="{BB469530-573F-4E3D-87E0-8116181A0E61}" presName="parTx" presStyleLbl="alignNode1" presStyleIdx="0" presStyleCnt="2">
        <dgm:presLayoutVars>
          <dgm:chMax val="0"/>
          <dgm:chPref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B67F9EA0-9E4C-4AFC-82BA-979108E2C6FA}" type="pres">
      <dgm:prSet presAssocID="{BB469530-573F-4E3D-87E0-8116181A0E61}" presName="desTx" presStyleLbl="alignAccFollowNode1" presStyleIdx="0" presStyleCnt="2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4F17AFDD-ECA4-4ED0-8261-7EA8421D3B15}" type="pres">
      <dgm:prSet presAssocID="{846E36E3-AF8B-4230-AC2C-69426C28B6E2}" presName="space" presStyleCnt="0"/>
      <dgm:spPr/>
    </dgm:pt>
    <dgm:pt modelId="{C8661B93-8A16-4708-8B50-7EDDC032414A}" type="pres">
      <dgm:prSet presAssocID="{A431A7E8-DCFF-49E3-B5C7-2F5AC88746C6}" presName="composite" presStyleCnt="0"/>
      <dgm:spPr/>
    </dgm:pt>
    <dgm:pt modelId="{337E3339-A287-4D73-ADDC-134A22779B89}" type="pres">
      <dgm:prSet presAssocID="{A431A7E8-DCFF-49E3-B5C7-2F5AC88746C6}" presName="parTx" presStyleLbl="alignNode1" presStyleIdx="1" presStyleCnt="2">
        <dgm:presLayoutVars>
          <dgm:chMax val="0"/>
          <dgm:chPref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ED46F24E-D2BE-4105-A1A5-BAB85D6D7314}" type="pres">
      <dgm:prSet presAssocID="{A431A7E8-DCFF-49E3-B5C7-2F5AC88746C6}" presName="desTx" presStyleLbl="alignAccFollowNode1" presStyleIdx="1" presStyleCnt="2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</dgm:ptLst>
  <dgm:cxnLst>
    <dgm:cxn modelId="{2B0040E3-03FD-4B60-B013-354EE5C1F3B1}" srcId="{6D65A8BF-DF26-42E4-BA3D-C2B36A8322B9}" destId="{A431A7E8-DCFF-49E3-B5C7-2F5AC88746C6}" srcOrd="1" destOrd="0" parTransId="{61C5794B-295C-41FC-B0AB-FF18B5F62518}" sibTransId="{E3E42104-E39F-4304-AD6C-8CA910F90CA2}"/>
    <dgm:cxn modelId="{0D65CD21-782F-4C27-96E1-2FF77056901F}" type="presOf" srcId="{A431A7E8-DCFF-49E3-B5C7-2F5AC88746C6}" destId="{337E3339-A287-4D73-ADDC-134A22779B89}" srcOrd="0" destOrd="0" presId="urn:microsoft.com/office/officeart/2005/8/layout/hList1"/>
    <dgm:cxn modelId="{4D6000C7-B617-43FF-8B09-59EC5E74ECA9}" type="presOf" srcId="{EC1B12C5-E543-41A3-BC23-EF57B121DC30}" destId="{B67F9EA0-9E4C-4AFC-82BA-979108E2C6FA}" srcOrd="0" destOrd="0" presId="urn:microsoft.com/office/officeart/2005/8/layout/hList1"/>
    <dgm:cxn modelId="{97877911-5BA4-4885-B296-6441ED9458A7}" srcId="{BB469530-573F-4E3D-87E0-8116181A0E61}" destId="{EC1B12C5-E543-41A3-BC23-EF57B121DC30}" srcOrd="0" destOrd="0" parTransId="{E9148BBF-6B9B-40FE-B8DF-7F5E03B75658}" sibTransId="{43CFBE9F-094F-4A58-86A2-CDCF836D7242}"/>
    <dgm:cxn modelId="{48B61165-CA48-49D5-A873-430A03202358}" srcId="{A431A7E8-DCFF-49E3-B5C7-2F5AC88746C6}" destId="{A0408ECF-DE10-4F06-9998-E74F4071E48F}" srcOrd="1" destOrd="0" parTransId="{C624D004-629D-4D87-845A-29024E4D31CA}" sibTransId="{2D68546C-0AD5-4684-BE3E-4E5F85059CEA}"/>
    <dgm:cxn modelId="{DF55A5E6-92E6-47D1-9A1F-7A738DFCBE53}" type="presOf" srcId="{BB469530-573F-4E3D-87E0-8116181A0E61}" destId="{2D844244-20A0-4298-8467-D68191BA41D5}" srcOrd="0" destOrd="0" presId="urn:microsoft.com/office/officeart/2005/8/layout/hList1"/>
    <dgm:cxn modelId="{B76359B4-1B88-4BF6-9295-E51D8297237F}" srcId="{6D65A8BF-DF26-42E4-BA3D-C2B36A8322B9}" destId="{BB469530-573F-4E3D-87E0-8116181A0E61}" srcOrd="0" destOrd="0" parTransId="{240F4EAB-45CF-4E8C-889C-51F1B6190D9D}" sibTransId="{846E36E3-AF8B-4230-AC2C-69426C28B6E2}"/>
    <dgm:cxn modelId="{C77F0F1D-E8DB-4C41-9DB0-FC258BD88A99}" type="presOf" srcId="{6D65A8BF-DF26-42E4-BA3D-C2B36A8322B9}" destId="{F40241DC-075B-4135-8641-33A6DFEB36F9}" srcOrd="0" destOrd="0" presId="urn:microsoft.com/office/officeart/2005/8/layout/hList1"/>
    <dgm:cxn modelId="{25EC0AB5-828C-453B-B956-CB6EC3BA4618}" srcId="{A431A7E8-DCFF-49E3-B5C7-2F5AC88746C6}" destId="{0465DCA1-BA11-4061-9EC9-1FD46FC7FEE4}" srcOrd="0" destOrd="0" parTransId="{AF76ACE9-6041-4053-BC4A-14AA43C7E1D0}" sibTransId="{C10BB39F-7106-4DB9-992B-7160B2B7AF05}"/>
    <dgm:cxn modelId="{156393AE-5240-422C-B887-21BCCCD1B7A6}" type="presOf" srcId="{A0408ECF-DE10-4F06-9998-E74F4071E48F}" destId="{ED46F24E-D2BE-4105-A1A5-BAB85D6D7314}" srcOrd="0" destOrd="1" presId="urn:microsoft.com/office/officeart/2005/8/layout/hList1"/>
    <dgm:cxn modelId="{1125EF1F-BD05-4D33-8558-A64BEF24DBDF}" type="presOf" srcId="{0465DCA1-BA11-4061-9EC9-1FD46FC7FEE4}" destId="{ED46F24E-D2BE-4105-A1A5-BAB85D6D7314}" srcOrd="0" destOrd="0" presId="urn:microsoft.com/office/officeart/2005/8/layout/hList1"/>
    <dgm:cxn modelId="{BFF2C3D2-41A1-4AC8-9761-E4FC2083EC34}" type="presParOf" srcId="{F40241DC-075B-4135-8641-33A6DFEB36F9}" destId="{7B496048-F01E-42E3-8605-95CE08D994AA}" srcOrd="0" destOrd="0" presId="urn:microsoft.com/office/officeart/2005/8/layout/hList1"/>
    <dgm:cxn modelId="{257B1134-0078-48F1-983D-0085D9312037}" type="presParOf" srcId="{7B496048-F01E-42E3-8605-95CE08D994AA}" destId="{2D844244-20A0-4298-8467-D68191BA41D5}" srcOrd="0" destOrd="0" presId="urn:microsoft.com/office/officeart/2005/8/layout/hList1"/>
    <dgm:cxn modelId="{9268CDEA-5E6B-42BE-9C6C-B00F3431207E}" type="presParOf" srcId="{7B496048-F01E-42E3-8605-95CE08D994AA}" destId="{B67F9EA0-9E4C-4AFC-82BA-979108E2C6FA}" srcOrd="1" destOrd="0" presId="urn:microsoft.com/office/officeart/2005/8/layout/hList1"/>
    <dgm:cxn modelId="{7CCF6E59-F6DF-4735-B6ED-BB64199263C8}" type="presParOf" srcId="{F40241DC-075B-4135-8641-33A6DFEB36F9}" destId="{4F17AFDD-ECA4-4ED0-8261-7EA8421D3B15}" srcOrd="1" destOrd="0" presId="urn:microsoft.com/office/officeart/2005/8/layout/hList1"/>
    <dgm:cxn modelId="{02CA3413-524D-48DE-81CD-DC4D49833CC0}" type="presParOf" srcId="{F40241DC-075B-4135-8641-33A6DFEB36F9}" destId="{C8661B93-8A16-4708-8B50-7EDDC032414A}" srcOrd="2" destOrd="0" presId="urn:microsoft.com/office/officeart/2005/8/layout/hList1"/>
    <dgm:cxn modelId="{3D94A504-99C5-480D-AF50-D488D22A198B}" type="presParOf" srcId="{C8661B93-8A16-4708-8B50-7EDDC032414A}" destId="{337E3339-A287-4D73-ADDC-134A22779B89}" srcOrd="0" destOrd="0" presId="urn:microsoft.com/office/officeart/2005/8/layout/hList1"/>
    <dgm:cxn modelId="{CAF0AAB4-7D2F-4982-B99C-109E8F3057BD}" type="presParOf" srcId="{C8661B93-8A16-4708-8B50-7EDDC032414A}" destId="{ED46F24E-D2BE-4105-A1A5-BAB85D6D731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AB39DD-199B-44C3-AF92-DB744FEFFD3F}">
      <dsp:nvSpPr>
        <dsp:cNvPr id="0" name=""/>
        <dsp:cNvSpPr/>
      </dsp:nvSpPr>
      <dsp:spPr>
        <a:xfrm>
          <a:off x="-4209977" y="-645975"/>
          <a:ext cx="5016225" cy="5016225"/>
        </a:xfrm>
        <a:prstGeom prst="blockArc">
          <a:avLst>
            <a:gd name="adj1" fmla="val 18900000"/>
            <a:gd name="adj2" fmla="val 2700000"/>
            <a:gd name="adj3" fmla="val 431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D7EABB-6ABD-4ECB-AFDD-9C244532BACB}">
      <dsp:nvSpPr>
        <dsp:cNvPr id="0" name=""/>
        <dsp:cNvSpPr/>
      </dsp:nvSpPr>
      <dsp:spPr>
        <a:xfrm>
          <a:off x="518503" y="372427"/>
          <a:ext cx="2780636" cy="74485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1229" tIns="88900" rIns="88900" bIns="8890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3500" kern="1200" dirty="0" smtClean="0"/>
            <a:t>Reach</a:t>
          </a:r>
          <a:endParaRPr lang="en-IN" sz="3500" kern="1200" dirty="0"/>
        </a:p>
      </dsp:txBody>
      <dsp:txXfrm>
        <a:off x="518503" y="372427"/>
        <a:ext cx="2780636" cy="744855"/>
      </dsp:txXfrm>
    </dsp:sp>
    <dsp:sp modelId="{5A93D48F-52EC-437D-8AFD-A732A52F4522}">
      <dsp:nvSpPr>
        <dsp:cNvPr id="0" name=""/>
        <dsp:cNvSpPr/>
      </dsp:nvSpPr>
      <dsp:spPr>
        <a:xfrm>
          <a:off x="52969" y="279320"/>
          <a:ext cx="931068" cy="93106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9174898-38F7-4352-AD0E-BDA908DF1D20}">
      <dsp:nvSpPr>
        <dsp:cNvPr id="0" name=""/>
        <dsp:cNvSpPr/>
      </dsp:nvSpPr>
      <dsp:spPr>
        <a:xfrm>
          <a:off x="789258" y="1489710"/>
          <a:ext cx="2509881" cy="74485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1229" tIns="88900" rIns="88900" bIns="8890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3500" kern="1200" dirty="0" smtClean="0"/>
            <a:t>Relevance</a:t>
          </a:r>
          <a:endParaRPr lang="en-IN" sz="3500" kern="1200" dirty="0"/>
        </a:p>
      </dsp:txBody>
      <dsp:txXfrm>
        <a:off x="789258" y="1489710"/>
        <a:ext cx="2509881" cy="744855"/>
      </dsp:txXfrm>
    </dsp:sp>
    <dsp:sp modelId="{7FA645D8-A588-4327-ACA1-FDD8A2121F93}">
      <dsp:nvSpPr>
        <dsp:cNvPr id="0" name=""/>
        <dsp:cNvSpPr/>
      </dsp:nvSpPr>
      <dsp:spPr>
        <a:xfrm>
          <a:off x="323723" y="1396603"/>
          <a:ext cx="931068" cy="93106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C59747-40C2-4FFD-B66B-C3C4AB19C7CA}">
      <dsp:nvSpPr>
        <dsp:cNvPr id="0" name=""/>
        <dsp:cNvSpPr/>
      </dsp:nvSpPr>
      <dsp:spPr>
        <a:xfrm>
          <a:off x="518503" y="2606992"/>
          <a:ext cx="2780636" cy="74485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1229" tIns="88900" rIns="88900" bIns="88900" numCol="1" spcCol="1270" anchor="ctr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3500" kern="1200" dirty="0" smtClean="0"/>
            <a:t>ROI</a:t>
          </a:r>
          <a:endParaRPr lang="en-IN" sz="3500" kern="1200" dirty="0"/>
        </a:p>
      </dsp:txBody>
      <dsp:txXfrm>
        <a:off x="518503" y="2606992"/>
        <a:ext cx="2780636" cy="744855"/>
      </dsp:txXfrm>
    </dsp:sp>
    <dsp:sp modelId="{21B44E74-8520-4ED8-984B-550265E71866}">
      <dsp:nvSpPr>
        <dsp:cNvPr id="0" name=""/>
        <dsp:cNvSpPr/>
      </dsp:nvSpPr>
      <dsp:spPr>
        <a:xfrm>
          <a:off x="52969" y="2513885"/>
          <a:ext cx="931068" cy="93106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542AE9-45F4-4E1F-BF94-AA8421C087C4}">
      <dsp:nvSpPr>
        <dsp:cNvPr id="0" name=""/>
        <dsp:cNvSpPr/>
      </dsp:nvSpPr>
      <dsp:spPr>
        <a:xfrm rot="10800000">
          <a:off x="1415928" y="346"/>
          <a:ext cx="4576712" cy="1052588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64162" tIns="80010" rIns="149352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smtClean="0">
              <a:latin typeface="Calibri"/>
              <a:ea typeface="+mn-ea"/>
              <a:cs typeface="+mn-cs"/>
            </a:rPr>
            <a:t>Email has thrice the no. of accounts than Facebook and Twitter combined</a:t>
          </a:r>
          <a:endParaRPr lang="en-US" sz="2100" kern="1200" dirty="0">
            <a:latin typeface="Calibri"/>
            <a:ea typeface="+mn-ea"/>
            <a:cs typeface="+mn-cs"/>
          </a:endParaRPr>
        </a:p>
      </dsp:txBody>
      <dsp:txXfrm rot="10800000">
        <a:off x="1679075" y="346"/>
        <a:ext cx="4313565" cy="1052588"/>
      </dsp:txXfrm>
    </dsp:sp>
    <dsp:sp modelId="{ABE1BC4A-7587-40ED-B72F-76686AA5DDF5}">
      <dsp:nvSpPr>
        <dsp:cNvPr id="0" name=""/>
        <dsp:cNvSpPr/>
      </dsp:nvSpPr>
      <dsp:spPr>
        <a:xfrm>
          <a:off x="889634" y="346"/>
          <a:ext cx="1052588" cy="1052588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C78EEB8-35B2-44B5-A56D-09B559BE786E}">
      <dsp:nvSpPr>
        <dsp:cNvPr id="0" name=""/>
        <dsp:cNvSpPr/>
      </dsp:nvSpPr>
      <dsp:spPr>
        <a:xfrm rot="10800000">
          <a:off x="1294736" y="1357224"/>
          <a:ext cx="4576712" cy="1052588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64162" tIns="80010" rIns="149352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>
              <a:latin typeface="Calibri"/>
              <a:ea typeface="+mn-ea"/>
              <a:cs typeface="+mn-cs"/>
            </a:rPr>
            <a:t>All web searches made on search engines in a day is equal to 1/100</a:t>
          </a:r>
          <a:r>
            <a:rPr lang="en-US" sz="2100" kern="1200" baseline="30000" dirty="0" smtClean="0">
              <a:latin typeface="Calibri"/>
              <a:ea typeface="+mn-ea"/>
              <a:cs typeface="+mn-cs"/>
            </a:rPr>
            <a:t>th</a:t>
          </a:r>
          <a:r>
            <a:rPr lang="en-US" sz="2100" kern="1200" dirty="0" smtClean="0">
              <a:latin typeface="Calibri"/>
              <a:ea typeface="+mn-ea"/>
              <a:cs typeface="+mn-cs"/>
            </a:rPr>
            <a:t> of daily email traffic</a:t>
          </a:r>
          <a:endParaRPr lang="en-US" sz="2100" kern="1200" dirty="0">
            <a:latin typeface="Calibri"/>
            <a:ea typeface="+mn-ea"/>
            <a:cs typeface="+mn-cs"/>
          </a:endParaRPr>
        </a:p>
      </dsp:txBody>
      <dsp:txXfrm rot="10800000">
        <a:off x="1557883" y="1357224"/>
        <a:ext cx="4313565" cy="1052588"/>
      </dsp:txXfrm>
    </dsp:sp>
    <dsp:sp modelId="{71ED4363-6D4D-4271-810F-8499C68A803A}">
      <dsp:nvSpPr>
        <dsp:cNvPr id="0" name=""/>
        <dsp:cNvSpPr/>
      </dsp:nvSpPr>
      <dsp:spPr>
        <a:xfrm>
          <a:off x="889634" y="1367139"/>
          <a:ext cx="1052588" cy="1052588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BEBE05A6-8EFB-471D-9DD6-170DBFDA5D18}">
      <dsp:nvSpPr>
        <dsp:cNvPr id="0" name=""/>
        <dsp:cNvSpPr/>
      </dsp:nvSpPr>
      <dsp:spPr>
        <a:xfrm rot="10800000">
          <a:off x="1415928" y="2733933"/>
          <a:ext cx="4576712" cy="1052588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64162" tIns="80010" rIns="149352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smtClean="0">
              <a:latin typeface="Calibri"/>
              <a:ea typeface="+mn-ea"/>
              <a:cs typeface="+mn-cs"/>
            </a:rPr>
            <a:t>All pages viewed on web in a day use only 1/4</a:t>
          </a:r>
          <a:r>
            <a:rPr lang="en-US" sz="2100" kern="1200" baseline="30000" smtClean="0">
              <a:latin typeface="Calibri"/>
              <a:ea typeface="+mn-ea"/>
              <a:cs typeface="+mn-cs"/>
            </a:rPr>
            <a:t>th</a:t>
          </a:r>
          <a:r>
            <a:rPr lang="en-US" sz="2100" kern="1200" smtClean="0">
              <a:latin typeface="Calibri"/>
              <a:ea typeface="+mn-ea"/>
              <a:cs typeface="+mn-cs"/>
            </a:rPr>
            <a:t> of the bandwidth consumed by email</a:t>
          </a:r>
          <a:endParaRPr lang="en-US" sz="2100" kern="1200" dirty="0">
            <a:latin typeface="Calibri"/>
            <a:ea typeface="+mn-ea"/>
            <a:cs typeface="+mn-cs"/>
          </a:endParaRPr>
        </a:p>
      </dsp:txBody>
      <dsp:txXfrm rot="10800000">
        <a:off x="1679075" y="2733933"/>
        <a:ext cx="4313565" cy="1052588"/>
      </dsp:txXfrm>
    </dsp:sp>
    <dsp:sp modelId="{A8F73F3A-23A3-4F3E-A731-BDB9F0621141}">
      <dsp:nvSpPr>
        <dsp:cNvPr id="0" name=""/>
        <dsp:cNvSpPr/>
      </dsp:nvSpPr>
      <dsp:spPr>
        <a:xfrm>
          <a:off x="889634" y="2733933"/>
          <a:ext cx="1052588" cy="1052588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F2EA83-E445-4C62-994E-4A2A31B8EC7F}">
      <dsp:nvSpPr>
        <dsp:cNvPr id="0" name=""/>
        <dsp:cNvSpPr/>
      </dsp:nvSpPr>
      <dsp:spPr>
        <a:xfrm>
          <a:off x="-4069805" y="-624665"/>
          <a:ext cx="4849712" cy="4849712"/>
        </a:xfrm>
        <a:prstGeom prst="blockArc">
          <a:avLst>
            <a:gd name="adj1" fmla="val 18900000"/>
            <a:gd name="adj2" fmla="val 2700000"/>
            <a:gd name="adj3" fmla="val 372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4BE3684-B257-4B62-9D84-FF14588C0E94}">
      <dsp:nvSpPr>
        <dsp:cNvPr id="0" name=""/>
        <dsp:cNvSpPr/>
      </dsp:nvSpPr>
      <dsp:spPr>
        <a:xfrm>
          <a:off x="501553" y="360038"/>
          <a:ext cx="6523278" cy="72007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60" tIns="30480" rIns="30480" bIns="3048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smtClean="0">
              <a:latin typeface="Calibri"/>
              <a:ea typeface="+mn-ea"/>
              <a:cs typeface="+mn-cs"/>
            </a:rPr>
            <a:t>TV</a:t>
          </a:r>
          <a:endParaRPr lang="en-US" sz="1700" b="1" kern="1200" dirty="0">
            <a:latin typeface="Calibri"/>
            <a:ea typeface="+mn-ea"/>
            <a:cs typeface="+mn-cs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No view for who is watching the Ad</a:t>
          </a:r>
          <a:endParaRPr lang="en-US" sz="12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A comparative rating system to evaluate reach</a:t>
          </a:r>
          <a:endParaRPr lang="en-US" sz="12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501553" y="360038"/>
        <a:ext cx="6523278" cy="720076"/>
      </dsp:txXfrm>
    </dsp:sp>
    <dsp:sp modelId="{81CD0801-B70E-4EC6-B1E9-B5CF177153C9}">
      <dsp:nvSpPr>
        <dsp:cNvPr id="0" name=""/>
        <dsp:cNvSpPr/>
      </dsp:nvSpPr>
      <dsp:spPr>
        <a:xfrm>
          <a:off x="51506" y="270028"/>
          <a:ext cx="900095" cy="900095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4A531BB8-0DDE-4FB5-B0DA-24791665563E}">
      <dsp:nvSpPr>
        <dsp:cNvPr id="0" name=""/>
        <dsp:cNvSpPr/>
      </dsp:nvSpPr>
      <dsp:spPr>
        <a:xfrm>
          <a:off x="763301" y="1440152"/>
          <a:ext cx="6261531" cy="72007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60" tIns="30480" rIns="30480" bIns="3048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smtClean="0">
              <a:latin typeface="Calibri"/>
              <a:ea typeface="+mn-ea"/>
              <a:cs typeface="+mn-cs"/>
            </a:rPr>
            <a:t>Direct Mail</a:t>
          </a:r>
          <a:endParaRPr lang="en-US" sz="1700" b="1" kern="1200" dirty="0">
            <a:latin typeface="Calibri"/>
            <a:ea typeface="+mn-ea"/>
            <a:cs typeface="+mn-cs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View of who will receive the mail</a:t>
          </a:r>
          <a:endParaRPr lang="en-US" sz="12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No view if the mail has been delivered or read by the receiver</a:t>
          </a:r>
          <a:endParaRPr lang="en-US" sz="12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763301" y="1440152"/>
        <a:ext cx="6261531" cy="720076"/>
      </dsp:txXfrm>
    </dsp:sp>
    <dsp:sp modelId="{6898AE3B-F46F-47D6-987D-F37FEB1554B8}">
      <dsp:nvSpPr>
        <dsp:cNvPr id="0" name=""/>
        <dsp:cNvSpPr/>
      </dsp:nvSpPr>
      <dsp:spPr>
        <a:xfrm>
          <a:off x="313254" y="1350142"/>
          <a:ext cx="900095" cy="900095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3F35068E-D60A-44A4-9012-4423D2CED427}">
      <dsp:nvSpPr>
        <dsp:cNvPr id="0" name=""/>
        <dsp:cNvSpPr/>
      </dsp:nvSpPr>
      <dsp:spPr>
        <a:xfrm>
          <a:off x="501553" y="2520266"/>
          <a:ext cx="6523278" cy="72007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60" tIns="30480" rIns="30480" bIns="3048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smtClean="0">
              <a:latin typeface="Calibri"/>
              <a:ea typeface="+mn-ea"/>
              <a:cs typeface="+mn-cs"/>
            </a:rPr>
            <a:t>Email</a:t>
          </a:r>
          <a:endParaRPr lang="en-US" sz="1600" b="1" kern="1200" dirty="0">
            <a:latin typeface="Calibri"/>
            <a:ea typeface="+mn-ea"/>
            <a:cs typeface="+mn-cs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View of who will receive the mail</a:t>
          </a:r>
          <a:endParaRPr lang="en-US" sz="12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View if the mail has been opened, clicked, which links are working (or not</a:t>
          </a:r>
          <a:r>
            <a:rPr lang="en-US" sz="1200" kern="1200" smtClean="0">
              <a:latin typeface="Calibri"/>
              <a:ea typeface="+mn-ea"/>
              <a:cs typeface="+mn-cs"/>
            </a:rPr>
            <a:t>)</a:t>
          </a:r>
          <a:endParaRPr lang="en-US" sz="1200" kern="1200" dirty="0">
            <a:latin typeface="Calibri"/>
            <a:ea typeface="+mn-ea"/>
            <a:cs typeface="+mn-cs"/>
          </a:endParaRPr>
        </a:p>
      </dsp:txBody>
      <dsp:txXfrm>
        <a:off x="501553" y="2520266"/>
        <a:ext cx="6523278" cy="720076"/>
      </dsp:txXfrm>
    </dsp:sp>
    <dsp:sp modelId="{491A8549-5F9B-4AC9-8D7B-BC5B496B29E5}">
      <dsp:nvSpPr>
        <dsp:cNvPr id="0" name=""/>
        <dsp:cNvSpPr/>
      </dsp:nvSpPr>
      <dsp:spPr>
        <a:xfrm>
          <a:off x="51506" y="2430257"/>
          <a:ext cx="900095" cy="900095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DF2C6A-D37F-4513-9458-76385EDF7A8E}">
      <dsp:nvSpPr>
        <dsp:cNvPr id="0" name=""/>
        <dsp:cNvSpPr/>
      </dsp:nvSpPr>
      <dsp:spPr>
        <a:xfrm rot="16200000">
          <a:off x="-33502" y="34231"/>
          <a:ext cx="1963895" cy="1895432"/>
        </a:xfrm>
        <a:prstGeom prst="flowChartManualOperati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0" tIns="0" rIns="101600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smtClean="0">
              <a:latin typeface="Tahoma" pitchFamily="34" charset="0"/>
              <a:ea typeface="Tahoma" pitchFamily="34" charset="0"/>
              <a:cs typeface="Tahoma" pitchFamily="34" charset="0"/>
            </a:rPr>
            <a:t>     Facebook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smtClean="0">
              <a:latin typeface="Calibri"/>
              <a:ea typeface="+mn-ea"/>
              <a:cs typeface="+mn-cs"/>
            </a:rPr>
            <a:t>Avg. CTR on Facebook is </a:t>
          </a:r>
          <a:r>
            <a:rPr lang="en-US" sz="2100" b="1" kern="1200" smtClean="0">
              <a:latin typeface="Calibri"/>
              <a:ea typeface="+mn-ea"/>
              <a:cs typeface="+mn-cs"/>
            </a:rPr>
            <a:t>1.49%</a:t>
          </a:r>
          <a:endParaRPr lang="en-US" sz="2100" b="1" kern="1200" dirty="0" smtClean="0">
            <a:latin typeface="Calibri"/>
            <a:ea typeface="+mn-ea"/>
            <a:cs typeface="+mn-cs"/>
          </a:endParaRPr>
        </a:p>
      </dsp:txBody>
      <dsp:txXfrm rot="5400000">
        <a:off x="730" y="392778"/>
        <a:ext cx="1895432" cy="1178337"/>
      </dsp:txXfrm>
    </dsp:sp>
    <dsp:sp modelId="{BFFC7DCB-2016-4FD2-AA96-98802D106F48}">
      <dsp:nvSpPr>
        <dsp:cNvPr id="0" name=""/>
        <dsp:cNvSpPr/>
      </dsp:nvSpPr>
      <dsp:spPr>
        <a:xfrm rot="16200000">
          <a:off x="2004087" y="34231"/>
          <a:ext cx="1963895" cy="1895432"/>
        </a:xfrm>
        <a:prstGeom prst="flowChartManualOperati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650" tIns="0" rIns="120303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smtClean="0">
              <a:latin typeface="Calibri"/>
              <a:ea typeface="+mn-ea"/>
              <a:cs typeface="+mn-cs"/>
            </a:rPr>
            <a:t>Twitter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smtClean="0">
              <a:latin typeface="Calibri"/>
              <a:ea typeface="+mn-ea"/>
              <a:cs typeface="+mn-cs"/>
            </a:rPr>
            <a:t>Avg. CTR on twitter is </a:t>
          </a:r>
          <a:r>
            <a:rPr lang="en-US" sz="1900" b="1" kern="1200" smtClean="0">
              <a:latin typeface="Calibri"/>
              <a:ea typeface="+mn-ea"/>
              <a:cs typeface="+mn-cs"/>
            </a:rPr>
            <a:t>1.64% </a:t>
          </a:r>
          <a:r>
            <a:rPr lang="en-US" sz="1900" kern="1200" smtClean="0">
              <a:latin typeface="Calibri"/>
              <a:ea typeface="+mn-ea"/>
              <a:cs typeface="+mn-cs"/>
            </a:rPr>
            <a:t>	</a:t>
          </a:r>
          <a:endParaRPr lang="en-US" sz="1900" kern="1200" dirty="0" smtClean="0">
            <a:latin typeface="Calibri"/>
            <a:ea typeface="+mn-ea"/>
            <a:cs typeface="+mn-cs"/>
          </a:endParaRPr>
        </a:p>
      </dsp:txBody>
      <dsp:txXfrm rot="5400000">
        <a:off x="2038319" y="392778"/>
        <a:ext cx="1895432" cy="1178337"/>
      </dsp:txXfrm>
    </dsp:sp>
    <dsp:sp modelId="{A5342A01-5EC4-4220-A0A2-0D3DCBC2B96C}">
      <dsp:nvSpPr>
        <dsp:cNvPr id="0" name=""/>
        <dsp:cNvSpPr/>
      </dsp:nvSpPr>
      <dsp:spPr>
        <a:xfrm rot="16200000">
          <a:off x="4041676" y="34231"/>
          <a:ext cx="1963895" cy="1895432"/>
        </a:xfrm>
        <a:prstGeom prst="flowChartManualOperati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650" tIns="0" rIns="120303" bIns="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>
              <a:latin typeface="Calibri"/>
              <a:ea typeface="+mn-ea"/>
              <a:cs typeface="+mn-cs"/>
            </a:rPr>
            <a:t>    Email</a:t>
          </a:r>
        </a:p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>
              <a:latin typeface="Calibri"/>
              <a:ea typeface="+mn-ea"/>
              <a:cs typeface="+mn-cs"/>
            </a:rPr>
            <a:t>Avg. CTR on Email is </a:t>
          </a:r>
          <a:r>
            <a:rPr lang="en-US" sz="1900" b="1" kern="1200" dirty="0" smtClean="0">
              <a:latin typeface="Calibri"/>
              <a:ea typeface="+mn-ea"/>
              <a:cs typeface="+mn-cs"/>
            </a:rPr>
            <a:t>5.2%</a:t>
          </a:r>
          <a:endParaRPr lang="en-US" sz="1900" b="1" kern="1200" dirty="0">
            <a:latin typeface="Calibri"/>
            <a:ea typeface="+mn-ea"/>
            <a:cs typeface="+mn-cs"/>
          </a:endParaRPr>
        </a:p>
      </dsp:txBody>
      <dsp:txXfrm rot="5400000">
        <a:off x="4075908" y="392778"/>
        <a:ext cx="1895432" cy="117833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CFE2A6-7BF3-4859-823A-1233AC52C7EB}">
      <dsp:nvSpPr>
        <dsp:cNvPr id="0" name=""/>
        <dsp:cNvSpPr/>
      </dsp:nvSpPr>
      <dsp:spPr>
        <a:xfrm rot="10800000">
          <a:off x="1414522" y="1950"/>
          <a:ext cx="4594086" cy="1029463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3965" tIns="60960" rIns="113792" bIns="60960" numCol="1" spcCol="1270" anchor="t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smtClean="0">
              <a:latin typeface="Calibri"/>
              <a:ea typeface="+mn-ea"/>
              <a:cs typeface="+mn-cs"/>
            </a:rPr>
            <a:t>Search Engine</a:t>
          </a:r>
          <a:endParaRPr lang="en-US" sz="2100" kern="1200" dirty="0" smtClean="0">
            <a:latin typeface="Calibri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smtClean="0">
              <a:latin typeface="Calibri"/>
              <a:ea typeface="+mn-ea"/>
              <a:cs typeface="+mn-cs"/>
            </a:rPr>
            <a:t>Avg. Conv Rate on search engines is </a:t>
          </a:r>
          <a:r>
            <a:rPr lang="en-US" sz="1600" b="1" kern="1200" smtClean="0">
              <a:latin typeface="Calibri"/>
              <a:ea typeface="+mn-ea"/>
              <a:cs typeface="+mn-cs"/>
            </a:rPr>
            <a:t>2.50%</a:t>
          </a:r>
          <a:endParaRPr lang="en-US" sz="1600" b="1" kern="1200" dirty="0">
            <a:latin typeface="Calibri"/>
            <a:ea typeface="+mn-ea"/>
            <a:cs typeface="+mn-cs"/>
          </a:endParaRPr>
        </a:p>
      </dsp:txBody>
      <dsp:txXfrm rot="10800000">
        <a:off x="1671888" y="1950"/>
        <a:ext cx="4336720" cy="1029463"/>
      </dsp:txXfrm>
    </dsp:sp>
    <dsp:sp modelId="{5C0FC5B9-993A-45C4-9B88-D023F91AC3FF}">
      <dsp:nvSpPr>
        <dsp:cNvPr id="0" name=""/>
        <dsp:cNvSpPr/>
      </dsp:nvSpPr>
      <dsp:spPr>
        <a:xfrm>
          <a:off x="899791" y="1950"/>
          <a:ext cx="1029463" cy="1029463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1DBED99A-E540-4C7F-8A83-6AEFFA090674}">
      <dsp:nvSpPr>
        <dsp:cNvPr id="0" name=""/>
        <dsp:cNvSpPr/>
      </dsp:nvSpPr>
      <dsp:spPr>
        <a:xfrm rot="10800000">
          <a:off x="1414522" y="1338716"/>
          <a:ext cx="4594086" cy="1029463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3965" tIns="83820" rIns="156464" bIns="8382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smtClean="0">
              <a:latin typeface="Calibri"/>
              <a:ea typeface="+mn-ea"/>
              <a:cs typeface="+mn-cs"/>
            </a:rPr>
            <a:t>Social Media</a:t>
          </a:r>
          <a:endParaRPr lang="en-US" sz="2200" kern="1200" dirty="0" smtClean="0">
            <a:latin typeface="Calibri"/>
            <a:ea typeface="+mn-ea"/>
            <a:cs typeface="+mn-cs"/>
          </a:endParaRP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smtClean="0">
              <a:latin typeface="Calibri"/>
              <a:ea typeface="+mn-ea"/>
              <a:cs typeface="+mn-cs"/>
            </a:rPr>
            <a:t>Avg. Conv Rate on social media is </a:t>
          </a:r>
          <a:r>
            <a:rPr lang="en-US" sz="1700" b="1" kern="1200" smtClean="0">
              <a:latin typeface="Calibri"/>
              <a:ea typeface="+mn-ea"/>
              <a:cs typeface="+mn-cs"/>
            </a:rPr>
            <a:t>0.60%</a:t>
          </a:r>
          <a:endParaRPr lang="en-US" sz="1700" b="1" kern="1200" dirty="0">
            <a:latin typeface="Calibri"/>
            <a:ea typeface="+mn-ea"/>
            <a:cs typeface="+mn-cs"/>
          </a:endParaRPr>
        </a:p>
      </dsp:txBody>
      <dsp:txXfrm rot="10800000">
        <a:off x="1671888" y="1338716"/>
        <a:ext cx="4336720" cy="1029463"/>
      </dsp:txXfrm>
    </dsp:sp>
    <dsp:sp modelId="{E7AF023A-6002-4F72-8A34-BAD14932966D}">
      <dsp:nvSpPr>
        <dsp:cNvPr id="0" name=""/>
        <dsp:cNvSpPr/>
      </dsp:nvSpPr>
      <dsp:spPr>
        <a:xfrm>
          <a:off x="899791" y="1338716"/>
          <a:ext cx="1029463" cy="1029463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C88CE509-2FCA-41D2-BBD2-97FFEADAEAB2}">
      <dsp:nvSpPr>
        <dsp:cNvPr id="0" name=""/>
        <dsp:cNvSpPr/>
      </dsp:nvSpPr>
      <dsp:spPr>
        <a:xfrm rot="10800000">
          <a:off x="1414522" y="2675481"/>
          <a:ext cx="4594086" cy="1029463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3965" tIns="83820" rIns="156464" bIns="8382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smtClean="0">
              <a:latin typeface="Calibri"/>
              <a:ea typeface="+mn-ea"/>
              <a:cs typeface="+mn-cs"/>
            </a:rPr>
            <a:t>Email</a:t>
          </a:r>
          <a:endParaRPr lang="en-US" sz="2200" kern="1200" dirty="0">
            <a:latin typeface="Calibri"/>
            <a:ea typeface="+mn-ea"/>
            <a:cs typeface="+mn-cs"/>
          </a:endParaRP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smtClean="0">
              <a:latin typeface="Calibri"/>
              <a:ea typeface="+mn-ea"/>
              <a:cs typeface="+mn-cs"/>
            </a:rPr>
            <a:t>Avg. Conv Rate on Email is </a:t>
          </a:r>
          <a:r>
            <a:rPr lang="en-US" sz="1700" b="1" kern="1200" smtClean="0">
              <a:latin typeface="Calibri"/>
              <a:ea typeface="+mn-ea"/>
              <a:cs typeface="+mn-cs"/>
            </a:rPr>
            <a:t>4.25</a:t>
          </a:r>
          <a:r>
            <a:rPr lang="en-US" sz="1700" kern="1200" smtClean="0">
              <a:latin typeface="Calibri"/>
              <a:ea typeface="+mn-ea"/>
              <a:cs typeface="+mn-cs"/>
            </a:rPr>
            <a:t>%</a:t>
          </a:r>
          <a:endParaRPr lang="en-US" sz="1700" kern="1200" dirty="0">
            <a:latin typeface="Calibri"/>
            <a:ea typeface="+mn-ea"/>
            <a:cs typeface="+mn-cs"/>
          </a:endParaRPr>
        </a:p>
      </dsp:txBody>
      <dsp:txXfrm rot="10800000">
        <a:off x="1671888" y="2675481"/>
        <a:ext cx="4336720" cy="1029463"/>
      </dsp:txXfrm>
    </dsp:sp>
    <dsp:sp modelId="{4F2A8715-4BBF-4863-AEAB-19B66CF9FF11}">
      <dsp:nvSpPr>
        <dsp:cNvPr id="0" name=""/>
        <dsp:cNvSpPr/>
      </dsp:nvSpPr>
      <dsp:spPr>
        <a:xfrm>
          <a:off x="899791" y="2675481"/>
          <a:ext cx="1029463" cy="1029463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498D30-FA5D-419E-9F86-AC05ECE5C882}">
      <dsp:nvSpPr>
        <dsp:cNvPr id="0" name=""/>
        <dsp:cNvSpPr/>
      </dsp:nvSpPr>
      <dsp:spPr>
        <a:xfrm>
          <a:off x="600147" y="4589"/>
          <a:ext cx="2163669" cy="108183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4295" tIns="49530" rIns="74295" bIns="49530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3900" kern="1200" smtClean="0">
              <a:latin typeface="Calibri"/>
              <a:ea typeface="+mn-ea"/>
              <a:cs typeface="+mn-cs"/>
            </a:rPr>
            <a:t>Twitter	</a:t>
          </a:r>
          <a:endParaRPr lang="en-IN" sz="3900" kern="1200" dirty="0">
            <a:latin typeface="Calibri"/>
            <a:ea typeface="+mn-ea"/>
            <a:cs typeface="+mn-cs"/>
          </a:endParaRPr>
        </a:p>
      </dsp:txBody>
      <dsp:txXfrm>
        <a:off x="631833" y="36275"/>
        <a:ext cx="2100297" cy="1018462"/>
      </dsp:txXfrm>
    </dsp:sp>
    <dsp:sp modelId="{33BE53B7-E347-48FF-B6F8-FAE31BFAF8C1}">
      <dsp:nvSpPr>
        <dsp:cNvPr id="0" name=""/>
        <dsp:cNvSpPr/>
      </dsp:nvSpPr>
      <dsp:spPr>
        <a:xfrm>
          <a:off x="816514" y="1086423"/>
          <a:ext cx="348437" cy="7172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7299"/>
              </a:lnTo>
              <a:lnTo>
                <a:pt x="348437" y="71729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1E307E6-8AB7-44CE-AAE3-26A3FB2A0D70}">
      <dsp:nvSpPr>
        <dsp:cNvPr id="0" name=""/>
        <dsp:cNvSpPr/>
      </dsp:nvSpPr>
      <dsp:spPr>
        <a:xfrm>
          <a:off x="1164952" y="1262806"/>
          <a:ext cx="1730935" cy="1081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Twitter people use to find interesting things and see what the people you follow are saying. </a:t>
          </a:r>
          <a:endParaRPr lang="en-IN" sz="1200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1196638" y="1294492"/>
        <a:ext cx="1667563" cy="1018462"/>
      </dsp:txXfrm>
    </dsp:sp>
    <dsp:sp modelId="{ED343D17-A942-4D52-B690-1A4A3533B754}">
      <dsp:nvSpPr>
        <dsp:cNvPr id="0" name=""/>
        <dsp:cNvSpPr/>
      </dsp:nvSpPr>
      <dsp:spPr>
        <a:xfrm>
          <a:off x="816514" y="1086423"/>
          <a:ext cx="389858" cy="20919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91911"/>
              </a:lnTo>
              <a:lnTo>
                <a:pt x="389858" y="209191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05CF97-FCAB-4A12-BC94-DA520C3BA307}">
      <dsp:nvSpPr>
        <dsp:cNvPr id="0" name=""/>
        <dsp:cNvSpPr/>
      </dsp:nvSpPr>
      <dsp:spPr>
        <a:xfrm>
          <a:off x="1206373" y="2637417"/>
          <a:ext cx="1730935" cy="1081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smtClean="0">
              <a:latin typeface="Tahoma" pitchFamily="34" charset="0"/>
              <a:ea typeface="Tahoma" pitchFamily="34" charset="0"/>
              <a:cs typeface="Tahoma" pitchFamily="34" charset="0"/>
            </a:rPr>
            <a:t>Brands use the medium to engage users in conversations by doing contests and other promotional activities</a:t>
          </a:r>
          <a:endParaRPr lang="en-IN" sz="1200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1238059" y="2669103"/>
        <a:ext cx="1667563" cy="1018462"/>
      </dsp:txXfrm>
    </dsp:sp>
    <dsp:sp modelId="{20A353A6-85FC-4C17-A051-60001FC61A8D}">
      <dsp:nvSpPr>
        <dsp:cNvPr id="0" name=""/>
        <dsp:cNvSpPr/>
      </dsp:nvSpPr>
      <dsp:spPr>
        <a:xfrm>
          <a:off x="5907715" y="0"/>
          <a:ext cx="2163669" cy="108183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4295" tIns="49530" rIns="74295" bIns="49530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3900" kern="1200" dirty="0" smtClean="0">
              <a:latin typeface="Calibri"/>
              <a:ea typeface="+mn-ea"/>
              <a:cs typeface="+mn-cs"/>
            </a:rPr>
            <a:t>Facebook</a:t>
          </a:r>
          <a:endParaRPr lang="en-IN" sz="3900" kern="1200" dirty="0">
            <a:latin typeface="Calibri"/>
            <a:ea typeface="+mn-ea"/>
            <a:cs typeface="+mn-cs"/>
          </a:endParaRPr>
        </a:p>
      </dsp:txBody>
      <dsp:txXfrm>
        <a:off x="5939401" y="31686"/>
        <a:ext cx="2100297" cy="1018462"/>
      </dsp:txXfrm>
    </dsp:sp>
    <dsp:sp modelId="{9D14CC75-3A82-4C85-B289-02ABE01560FC}">
      <dsp:nvSpPr>
        <dsp:cNvPr id="0" name=""/>
        <dsp:cNvSpPr/>
      </dsp:nvSpPr>
      <dsp:spPr>
        <a:xfrm>
          <a:off x="6124082" y="1081834"/>
          <a:ext cx="383765" cy="7527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52710"/>
              </a:lnTo>
              <a:lnTo>
                <a:pt x="383765" y="75271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DFFBA4-90B8-41DA-B9B8-0ABFE4C1E85F}">
      <dsp:nvSpPr>
        <dsp:cNvPr id="0" name=""/>
        <dsp:cNvSpPr/>
      </dsp:nvSpPr>
      <dsp:spPr>
        <a:xfrm>
          <a:off x="6507847" y="1293627"/>
          <a:ext cx="1730935" cy="1081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smtClean="0">
              <a:latin typeface="Tahoma" pitchFamily="34" charset="0"/>
              <a:ea typeface="Tahoma" pitchFamily="34" charset="0"/>
              <a:cs typeface="Tahoma" pitchFamily="34" charset="0"/>
            </a:rPr>
            <a:t>Facebook people use primarily to interact with friends and share their stuff</a:t>
          </a:r>
          <a:endParaRPr lang="en-IN" sz="1200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6539533" y="1325313"/>
        <a:ext cx="1667563" cy="1018462"/>
      </dsp:txXfrm>
    </dsp:sp>
    <dsp:sp modelId="{D1624A1A-EE98-4991-AE75-38C86EB79A73}">
      <dsp:nvSpPr>
        <dsp:cNvPr id="0" name=""/>
        <dsp:cNvSpPr/>
      </dsp:nvSpPr>
      <dsp:spPr>
        <a:xfrm>
          <a:off x="6124082" y="1081834"/>
          <a:ext cx="429600" cy="20883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88310"/>
              </a:lnTo>
              <a:lnTo>
                <a:pt x="429600" y="208831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DF7C38-9562-42B1-9F99-92D92D532444}">
      <dsp:nvSpPr>
        <dsp:cNvPr id="0" name=""/>
        <dsp:cNvSpPr/>
      </dsp:nvSpPr>
      <dsp:spPr>
        <a:xfrm>
          <a:off x="6553683" y="2629228"/>
          <a:ext cx="1730935" cy="1081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smtClean="0">
              <a:latin typeface="Tahoma" pitchFamily="34" charset="0"/>
              <a:ea typeface="Tahoma" pitchFamily="34" charset="0"/>
              <a:cs typeface="Tahoma" pitchFamily="34" charset="0"/>
            </a:rPr>
            <a:t>Brands use the medium to put relevant ads to attract user attention </a:t>
          </a:r>
          <a:endParaRPr lang="en-IN" sz="1200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6585369" y="2660914"/>
        <a:ext cx="1667563" cy="101846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844244-20A0-4298-8467-D68191BA41D5}">
      <dsp:nvSpPr>
        <dsp:cNvPr id="0" name=""/>
        <dsp:cNvSpPr/>
      </dsp:nvSpPr>
      <dsp:spPr>
        <a:xfrm>
          <a:off x="35" y="693666"/>
          <a:ext cx="3375075" cy="134114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3144" tIns="150368" rIns="263144" bIns="150368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700" kern="1200" smtClean="0">
              <a:latin typeface="Calibri"/>
              <a:ea typeface="+mn-ea"/>
              <a:cs typeface="+mn-cs"/>
            </a:rPr>
            <a:t>More Transactional</a:t>
          </a:r>
          <a:endParaRPr lang="en-US" sz="3700" kern="1200" dirty="0">
            <a:latin typeface="Calibri"/>
            <a:ea typeface="+mn-ea"/>
            <a:cs typeface="+mn-cs"/>
          </a:endParaRPr>
        </a:p>
      </dsp:txBody>
      <dsp:txXfrm>
        <a:off x="35" y="693666"/>
        <a:ext cx="3375075" cy="1341141"/>
      </dsp:txXfrm>
    </dsp:sp>
    <dsp:sp modelId="{B67F9EA0-9E4C-4AFC-82BA-979108E2C6FA}">
      <dsp:nvSpPr>
        <dsp:cNvPr id="0" name=""/>
        <dsp:cNvSpPr/>
      </dsp:nvSpPr>
      <dsp:spPr>
        <a:xfrm>
          <a:off x="35" y="2034808"/>
          <a:ext cx="3375075" cy="177738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>
              <a:latin typeface="Calibri"/>
              <a:ea typeface="+mn-ea"/>
              <a:cs typeface="+mn-cs"/>
            </a:rPr>
            <a:t>Email is much more transactional in nature where a user expects a message from her subscribed website and you can have a 1:1 conversation with a user</a:t>
          </a:r>
          <a:endParaRPr lang="en-US" sz="1800" kern="1200" dirty="0">
            <a:latin typeface="Calibri"/>
            <a:ea typeface="+mn-ea"/>
            <a:cs typeface="+mn-cs"/>
          </a:endParaRPr>
        </a:p>
      </dsp:txBody>
      <dsp:txXfrm>
        <a:off x="35" y="2034808"/>
        <a:ext cx="3375075" cy="1777387"/>
      </dsp:txXfrm>
    </dsp:sp>
    <dsp:sp modelId="{337E3339-A287-4D73-ADDC-134A22779B89}">
      <dsp:nvSpPr>
        <dsp:cNvPr id="0" name=""/>
        <dsp:cNvSpPr/>
      </dsp:nvSpPr>
      <dsp:spPr>
        <a:xfrm>
          <a:off x="3847621" y="693666"/>
          <a:ext cx="3375075" cy="134114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3144" tIns="150368" rIns="263144" bIns="150368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700" kern="1200" smtClean="0">
              <a:latin typeface="Calibri"/>
              <a:ea typeface="+mn-ea"/>
              <a:cs typeface="+mn-cs"/>
            </a:rPr>
            <a:t>Based on Sales Lifecycle</a:t>
          </a:r>
          <a:endParaRPr lang="en-US" sz="3700" kern="1200" dirty="0">
            <a:latin typeface="Calibri"/>
            <a:ea typeface="+mn-ea"/>
            <a:cs typeface="+mn-cs"/>
          </a:endParaRPr>
        </a:p>
      </dsp:txBody>
      <dsp:txXfrm>
        <a:off x="3847621" y="693666"/>
        <a:ext cx="3375075" cy="1341141"/>
      </dsp:txXfrm>
    </dsp:sp>
    <dsp:sp modelId="{ED46F24E-D2BE-4105-A1A5-BAB85D6D7314}">
      <dsp:nvSpPr>
        <dsp:cNvPr id="0" name=""/>
        <dsp:cNvSpPr/>
      </dsp:nvSpPr>
      <dsp:spPr>
        <a:xfrm>
          <a:off x="3847621" y="2034808"/>
          <a:ext cx="3375075" cy="177738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>
              <a:latin typeface="Calibri"/>
              <a:ea typeface="+mn-ea"/>
              <a:cs typeface="+mn-cs"/>
            </a:rPr>
            <a:t>In email you can gradually send an appropriate message to a user depending on where the user is in the Sales Lifecycle</a:t>
          </a:r>
          <a:endParaRPr lang="en-US" sz="1800" kern="1200" dirty="0">
            <a:solidFill>
              <a:srgbClr val="262626">
                <a:hueOff val="0"/>
                <a:satOff val="0"/>
                <a:lumOff val="0"/>
                <a:alphaOff val="0"/>
              </a:srgb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kern="1200" dirty="0">
            <a:solidFill>
              <a:srgbClr val="262626">
                <a:hueOff val="0"/>
                <a:satOff val="0"/>
                <a:lumOff val="0"/>
                <a:alphaOff val="0"/>
              </a:srgbClr>
            </a:solidFill>
            <a:latin typeface="Calibri"/>
            <a:ea typeface="+mn-ea"/>
            <a:cs typeface="+mn-cs"/>
          </a:endParaRPr>
        </a:p>
      </dsp:txBody>
      <dsp:txXfrm>
        <a:off x="3847621" y="2034808"/>
        <a:ext cx="3375075" cy="17773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12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12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53674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6973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5323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80333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84473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6749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0"/>
            <a:ext cx="9140370" cy="5143500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533499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5438775" y="4611000"/>
            <a:ext cx="3473450" cy="288925"/>
          </a:xfrm>
        </p:spPr>
        <p:txBody>
          <a:bodyPr/>
          <a:lstStyle>
            <a:lvl1pPr algn="r"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ourse link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54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6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4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7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6.jp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25.jpe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28.jpe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gif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3265714"/>
            <a:ext cx="9144000" cy="1877786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 smtClean="0"/>
              <a:t>Webinar Title</a:t>
            </a:r>
          </a:p>
          <a:p>
            <a:pPr algn="ctr"/>
            <a: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</a:rPr>
              <a:t>Webinar Subtitle(1 liner)</a:t>
            </a:r>
            <a:b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</a:rPr>
            </a:br>
            <a:endParaRPr lang="en-US" sz="2000" b="1" dirty="0" smtClean="0">
              <a:solidFill>
                <a:prstClr val="white"/>
              </a:solidFill>
              <a:latin typeface="Calibri" panose="020F0502020204030204" pitchFamily="34" charset="0"/>
            </a:endParaRPr>
          </a:p>
          <a:p>
            <a:pPr algn="ctr"/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1" dirty="0">
                <a:solidFill>
                  <a:prstClr val="white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esenter – Instructor Name</a:t>
            </a:r>
            <a:endParaRPr lang="en-US" sz="4400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203" y="95000"/>
            <a:ext cx="1612068" cy="277635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163782" y="985652"/>
            <a:ext cx="37288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600" b="1" dirty="0" smtClean="0">
                <a:solidFill>
                  <a:srgbClr val="000000"/>
                </a:solidFill>
                <a:cs typeface="HP Simplified" pitchFamily="34" charset="0"/>
              </a:rPr>
              <a:t>Change this Image (relevant to webinar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75" y="0"/>
            <a:ext cx="9144000" cy="515799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213303" y="0"/>
            <a:ext cx="6717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2800" b="1" dirty="0">
                <a:solidFill>
                  <a:schemeClr val="bg1"/>
                </a:solidFill>
              </a:rPr>
              <a:t>Email Marketing - Critical for Your Business</a:t>
            </a:r>
            <a:endParaRPr lang="en-US" sz="2800" b="1" dirty="0" smtClean="0">
              <a:solidFill>
                <a:schemeClr val="bg1"/>
              </a:solidFill>
              <a:cs typeface="HP Simplified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8005" y="4589920"/>
            <a:ext cx="33092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2000" dirty="0" smtClean="0">
                <a:solidFill>
                  <a:schemeClr val="bg1"/>
                </a:solidFill>
                <a:cs typeface="HP Simplified" pitchFamily="34" charset="0"/>
              </a:rPr>
              <a:t>Presenter : </a:t>
            </a:r>
            <a:r>
              <a:rPr lang="en-US" sz="2000" dirty="0" err="1" smtClean="0">
                <a:solidFill>
                  <a:schemeClr val="bg1"/>
                </a:solidFill>
                <a:cs typeface="HP Simplified" pitchFamily="34" charset="0"/>
              </a:rPr>
              <a:t>Rishabh</a:t>
            </a:r>
            <a:r>
              <a:rPr lang="en-US" sz="2000" dirty="0" smtClean="0">
                <a:solidFill>
                  <a:schemeClr val="bg1"/>
                </a:solidFill>
                <a:cs typeface="HP Simplified" pitchFamily="34" charset="0"/>
              </a:rPr>
              <a:t> Garg</a:t>
            </a:r>
            <a:endParaRPr lang="en-US" sz="2000" dirty="0" smtClean="0">
              <a:solidFill>
                <a:schemeClr val="bg1"/>
              </a:solidFill>
              <a:cs typeface="HP Simplifi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482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erformance on 3 R’s</a:t>
            </a:r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90231" y="1555808"/>
            <a:ext cx="6210300" cy="319965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+mn-lt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 </a:t>
            </a:r>
            <a:r>
              <a:rPr lang="en-US" sz="2000" dirty="0" smtClean="0"/>
              <a:t>4.9 Billion </a:t>
            </a:r>
            <a:r>
              <a:rPr lang="en-US" sz="1400" b="0" dirty="0" smtClean="0">
                <a:solidFill>
                  <a:schemeClr val="tx1"/>
                </a:solidFill>
              </a:rPr>
              <a:t>email accounts expected by early 2018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0" dirty="0" smtClean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400" b="0" dirty="0" smtClean="0">
                <a:solidFill>
                  <a:schemeClr val="tx1"/>
                </a:solidFill>
              </a:rPr>
              <a:t>Despite misconceptions that Email is dying, its usage is  growing at a rate of </a:t>
            </a:r>
            <a:r>
              <a:rPr lang="en-US" sz="2000" dirty="0" smtClean="0"/>
              <a:t>6%</a:t>
            </a:r>
            <a:r>
              <a:rPr lang="en-US" sz="1400" dirty="0" smtClean="0"/>
              <a:t> </a:t>
            </a:r>
            <a:r>
              <a:rPr lang="en-US" sz="1400" b="0" dirty="0" smtClean="0">
                <a:solidFill>
                  <a:schemeClr val="tx1"/>
                </a:solidFill>
              </a:rPr>
              <a:t>per year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0" dirty="0" smtClean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sz="2000" dirty="0" smtClean="0"/>
              <a:t>90%+ </a:t>
            </a:r>
            <a:r>
              <a:rPr lang="en-US" sz="1400" b="0" dirty="0" smtClean="0">
                <a:solidFill>
                  <a:schemeClr val="tx1"/>
                </a:solidFill>
              </a:rPr>
              <a:t>consumers check their email daily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0" dirty="0" smtClean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 </a:t>
            </a:r>
            <a:r>
              <a:rPr lang="en-US" sz="1400" b="0" dirty="0" smtClean="0">
                <a:solidFill>
                  <a:schemeClr val="tx1"/>
                </a:solidFill>
              </a:rPr>
              <a:t>2 out of 3 consumers prefer to have details sent on email</a:t>
            </a:r>
            <a:endParaRPr lang="en-US" b="0" dirty="0" smtClean="0">
              <a:solidFill>
                <a:schemeClr val="tx1"/>
              </a:solidFill>
            </a:endParaRPr>
          </a:p>
          <a:p>
            <a:pPr lvl="1"/>
            <a:endParaRPr lang="en-US" dirty="0" smtClean="0">
              <a:solidFill>
                <a:schemeClr val="tx1"/>
              </a:solidFill>
            </a:endParaRPr>
          </a:p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458518" y="963059"/>
            <a:ext cx="3801479" cy="3156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REACH</a:t>
            </a:r>
            <a:endParaRPr lang="en-US" sz="1400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8643" y="1062037"/>
            <a:ext cx="2857500" cy="30194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68440" y="497259"/>
            <a:ext cx="3640851" cy="12210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1044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8469" y="1387011"/>
            <a:ext cx="4056394" cy="2882329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456666" y="963990"/>
            <a:ext cx="3816000" cy="324000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</a:rPr>
              <a:t>RELEVANCE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221569" y="1542566"/>
            <a:ext cx="6210300" cy="319965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+mn-lt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r>
              <a:rPr lang="en-US" sz="12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b="0" dirty="0" smtClean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r>
              <a:rPr lang="en-US" sz="12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b="0" dirty="0" smtClean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dirty="0" smtClean="0">
                <a:solidFill>
                  <a:srgbClr val="00B0F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Relevance</a:t>
            </a:r>
            <a:r>
              <a:rPr lang="en-US" sz="1600" b="0" dirty="0" smtClean="0">
                <a:solidFill>
                  <a:srgbClr val="00B0F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0" dirty="0" smtClean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= Right </a:t>
            </a:r>
            <a:r>
              <a:rPr lang="en-US" sz="14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Message + Right Time</a:t>
            </a:r>
          </a:p>
          <a:p>
            <a:pPr lvl="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endParaRPr lang="en-US" sz="1200" b="0" dirty="0">
              <a:solidFill>
                <a:srgbClr val="26262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r>
              <a:rPr lang="en-US" sz="12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    </a:t>
            </a:r>
            <a:r>
              <a:rPr lang="en-US" sz="1400" b="0" dirty="0" smtClean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here </a:t>
            </a:r>
            <a:r>
              <a:rPr lang="en-US" sz="14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re close to </a:t>
            </a:r>
            <a:r>
              <a:rPr lang="en-US" sz="2000" dirty="0">
                <a:solidFill>
                  <a:srgbClr val="00B0F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1 Billion</a:t>
            </a:r>
            <a:r>
              <a:rPr lang="en-US" dirty="0">
                <a:solidFill>
                  <a:srgbClr val="00B0F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mobile email users </a:t>
            </a:r>
            <a:endParaRPr lang="en-US" sz="1200" b="0" dirty="0">
              <a:solidFill>
                <a:srgbClr val="26262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endParaRPr lang="en-US" sz="1200" b="0" dirty="0">
              <a:solidFill>
                <a:srgbClr val="26262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r>
              <a:rPr lang="en-US" sz="14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  </a:t>
            </a:r>
            <a:r>
              <a:rPr lang="en-US" sz="1400" b="0" dirty="0" smtClean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An </a:t>
            </a:r>
            <a:r>
              <a:rPr lang="en-US" sz="14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verage email user interacts with about 10 Brands </a:t>
            </a:r>
            <a:endParaRPr lang="en-US" sz="1400" b="0" dirty="0" smtClean="0">
              <a:solidFill>
                <a:srgbClr val="26262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 defTabSz="914378">
              <a:spcBef>
                <a:spcPct val="20000"/>
              </a:spcBef>
              <a:spcAft>
                <a:spcPts val="0"/>
              </a:spcAft>
              <a:buSzTx/>
              <a:defRPr/>
            </a:pPr>
            <a:r>
              <a:rPr lang="en-US" sz="1400" b="0" dirty="0" smtClean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       per </a:t>
            </a:r>
            <a:r>
              <a:rPr lang="en-US" sz="14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ay on email</a:t>
            </a:r>
          </a:p>
          <a:p>
            <a:pPr lvl="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endParaRPr lang="en-US" sz="1200" b="0" dirty="0">
              <a:solidFill>
                <a:srgbClr val="26262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r>
              <a:rPr lang="en-US" sz="12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   </a:t>
            </a:r>
            <a:r>
              <a:rPr lang="en-US" sz="1200" b="0" dirty="0" smtClean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0" dirty="0" smtClean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Over</a:t>
            </a:r>
            <a:r>
              <a:rPr lang="en-US" sz="1200" b="0" dirty="0" smtClean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dirty="0">
                <a:solidFill>
                  <a:srgbClr val="00B0F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50%</a:t>
            </a:r>
            <a:r>
              <a:rPr lang="en-US" sz="2000" b="0" dirty="0">
                <a:solidFill>
                  <a:srgbClr val="00B0F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of users prefer to interact with brands on  </a:t>
            </a:r>
            <a:r>
              <a:rPr lang="en-US" sz="1400" b="0" dirty="0" smtClean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mail</a:t>
            </a:r>
            <a:endParaRPr lang="en-US" sz="1400" b="0" dirty="0">
              <a:solidFill>
                <a:srgbClr val="26262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26262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endParaRPr lang="en-US" sz="1200" b="0" dirty="0">
              <a:solidFill>
                <a:srgbClr val="26262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endParaRPr lang="en-US" sz="1200" b="0" dirty="0">
              <a:solidFill>
                <a:srgbClr val="26262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3" y="96838"/>
            <a:ext cx="7239000" cy="442912"/>
          </a:xfrm>
        </p:spPr>
        <p:txBody>
          <a:bodyPr/>
          <a:lstStyle/>
          <a:p>
            <a:r>
              <a:rPr lang="en-US" dirty="0"/>
              <a:t>Performance on 3 R’s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17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527400" y="879268"/>
            <a:ext cx="3816000" cy="324000"/>
          </a:xfrm>
          <a:prstGeom prst="round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I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121" y="1041268"/>
            <a:ext cx="3489809" cy="3489809"/>
          </a:xfrm>
          <a:prstGeom prst="rect">
            <a:avLst/>
          </a:prstGeom>
        </p:spPr>
      </p:pic>
      <p:sp>
        <p:nvSpPr>
          <p:cNvPr id="17" name="Content Placeholder 2"/>
          <p:cNvSpPr txBox="1">
            <a:spLocks/>
          </p:cNvSpPr>
          <p:nvPr/>
        </p:nvSpPr>
        <p:spPr>
          <a:xfrm>
            <a:off x="234801" y="1331423"/>
            <a:ext cx="5081208" cy="31996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+mn-lt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0" indent="-22860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r>
              <a:rPr lang="en-US" sz="1400" b="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0" dirty="0" smtClean="0">
                <a:solidFill>
                  <a:srgbClr val="26262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Email </a:t>
            </a:r>
            <a:r>
              <a:rPr lang="en-US" sz="1400" b="0" dirty="0">
                <a:solidFill>
                  <a:srgbClr val="26262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delivers </a:t>
            </a:r>
            <a:r>
              <a:rPr lang="en-US" sz="20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40+ </a:t>
            </a:r>
            <a:r>
              <a:rPr lang="en-US" sz="1400" b="0" dirty="0">
                <a:solidFill>
                  <a:srgbClr val="26262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f returns for every dollar spent</a:t>
            </a:r>
          </a:p>
          <a:p>
            <a:pPr marL="228600" lvl="0" indent="-22860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endParaRPr lang="en-US" sz="1400" b="0" dirty="0">
              <a:solidFill>
                <a:srgbClr val="262626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lvl="0" indent="-22860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r>
              <a:rPr lang="en-US" sz="1400" b="0" dirty="0" smtClean="0">
                <a:solidFill>
                  <a:srgbClr val="26262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Revenue </a:t>
            </a:r>
            <a:r>
              <a:rPr lang="en-US" sz="1400" b="0" dirty="0">
                <a:solidFill>
                  <a:srgbClr val="26262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from email shot up by </a:t>
            </a:r>
            <a:r>
              <a:rPr lang="en-US" sz="20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%</a:t>
            </a:r>
            <a:r>
              <a:rPr lang="en-US" sz="20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0" dirty="0">
                <a:solidFill>
                  <a:srgbClr val="26262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in 2014 compared to </a:t>
            </a:r>
            <a:r>
              <a:rPr lang="en-US" sz="1400" b="0" dirty="0" smtClean="0">
                <a:solidFill>
                  <a:srgbClr val="26262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 2013</a:t>
            </a:r>
            <a:endParaRPr lang="en-US" sz="1400" b="0" dirty="0">
              <a:solidFill>
                <a:srgbClr val="262626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lvl="0" indent="-22860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endParaRPr lang="en-US" sz="1400" b="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lvl="0" indent="-22860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r>
              <a:rPr lang="en-US" sz="1400" b="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0" dirty="0">
                <a:solidFill>
                  <a:srgbClr val="26262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ver</a:t>
            </a:r>
            <a:r>
              <a:rPr lang="en-US" sz="1400" b="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0%</a:t>
            </a:r>
            <a:r>
              <a:rPr lang="en-US" sz="2000" dirty="0">
                <a:solidFill>
                  <a:srgbClr val="00B0F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0" dirty="0">
                <a:solidFill>
                  <a:srgbClr val="26262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f email users made at least 1 purchase in 2014 based on the promotional email they received</a:t>
            </a:r>
          </a:p>
          <a:p>
            <a:pPr marL="228600" lvl="0" indent="-22860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endParaRPr lang="en-US" sz="1400" b="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lvl="0" indent="-22860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r>
              <a:rPr lang="en-US" sz="1400" b="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0%+ </a:t>
            </a:r>
            <a:r>
              <a:rPr lang="en-US" sz="1400" b="0" dirty="0">
                <a:solidFill>
                  <a:srgbClr val="26262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companies who used email marketing in 2014 </a:t>
            </a:r>
            <a:r>
              <a:rPr lang="en-US" sz="1400" b="0" dirty="0" smtClean="0">
                <a:solidFill>
                  <a:srgbClr val="26262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reported </a:t>
            </a:r>
            <a:r>
              <a:rPr lang="en-US" sz="1400" b="0" dirty="0">
                <a:solidFill>
                  <a:srgbClr val="262626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it as the ‘Most Economical Channel’</a:t>
            </a:r>
          </a:p>
          <a:p>
            <a:pPr marL="685788" lvl="1" indent="-22860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262626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lvl="0" indent="-22860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endParaRPr lang="en-US" sz="1400" b="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lvl="0" indent="-22860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endParaRPr lang="en-US" sz="1400" b="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lvl="0" indent="-228600" algn="just" defTabSz="914378"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endParaRPr lang="en-US" sz="1400" b="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3" y="96838"/>
            <a:ext cx="7239000" cy="442912"/>
          </a:xfrm>
        </p:spPr>
        <p:txBody>
          <a:bodyPr/>
          <a:lstStyle/>
          <a:p>
            <a:r>
              <a:rPr lang="en-US" dirty="0"/>
              <a:t>Performance on 3 R’s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6481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0111" y="1494161"/>
            <a:ext cx="8752114" cy="23596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4800" b="1" dirty="0">
                <a:solidFill>
                  <a:schemeClr val="bg1"/>
                </a:solidFill>
              </a:rPr>
              <a:t>Comparison with other Marketing Channels</a:t>
            </a:r>
          </a:p>
          <a:p>
            <a:pPr marL="0" algn="ctr" defTabSz="430213">
              <a:spcAft>
                <a:spcPts val="400"/>
              </a:spcAft>
              <a:buSzPct val="100000"/>
            </a:pPr>
            <a:endParaRPr lang="en-US" sz="4800" b="1" dirty="0" err="1" smtClean="0">
              <a:solidFill>
                <a:schemeClr val="bg1"/>
              </a:solidFill>
              <a:cs typeface="HP Simplifi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6027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ustomer Engagement with different Channel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2242030199"/>
              </p:ext>
            </p:extLst>
          </p:nvPr>
        </p:nvGraphicFramePr>
        <p:xfrm>
          <a:off x="0" y="695325"/>
          <a:ext cx="9144000" cy="44481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693864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ime Spent with Digital Media per day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837715"/>
              </p:ext>
            </p:extLst>
          </p:nvPr>
        </p:nvGraphicFramePr>
        <p:xfrm>
          <a:off x="867555" y="1032755"/>
          <a:ext cx="7477085" cy="3389232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4BACC6">
                        <a:tint val="50000"/>
                        <a:satMod val="300000"/>
                      </a:srgbClr>
                    </a:gs>
                    <a:gs pos="35000">
                      <a:srgbClr val="4BACC6">
                        <a:tint val="37000"/>
                        <a:satMod val="300000"/>
                      </a:srgbClr>
                    </a:gs>
                    <a:gs pos="100000">
                      <a:srgbClr val="4BACC6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495417"/>
                <a:gridCol w="1495417"/>
                <a:gridCol w="1495417"/>
                <a:gridCol w="1495417"/>
                <a:gridCol w="1495417"/>
              </a:tblGrid>
              <a:tr h="3070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Digital Media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010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011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012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013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>
                      <a:noFill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</a:tr>
              <a:tr h="3070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Social Networks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6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30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37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37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</a:tr>
              <a:tr h="3070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Email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dirty="0" smtClean="0"/>
                        <a:t>26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dirty="0" smtClean="0"/>
                        <a:t>28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dirty="0" smtClean="0"/>
                        <a:t>33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dirty="0" smtClean="0"/>
                        <a:t>29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70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Online Video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0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7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4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3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</a:tr>
              <a:tr h="3070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Search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6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0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2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3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70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Online Games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3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6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7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9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</a:tr>
              <a:tr h="3070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Blogs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5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6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7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8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70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Online Radio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7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6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6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8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</a:tr>
              <a:tr h="3070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Online Newspapers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6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6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6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5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70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Online Magazines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2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3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3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3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</a:tr>
              <a:tr h="3070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Other </a:t>
                      </a:r>
                      <a:r>
                        <a:rPr lang="en-US" sz="1200" dirty="0" err="1" smtClean="0"/>
                        <a:t>Misc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42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44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31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31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57712" y="707209"/>
            <a:ext cx="483863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US Customers 2010-2013 (</a:t>
            </a:r>
            <a:r>
              <a:rPr kumimoji="0" lang="en-US" sz="135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mins</a:t>
            </a: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), ages 18-64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786067" y="4940821"/>
            <a:ext cx="48386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Source: IAB ‘2014 Digital Media Study’ conducted with </a:t>
            </a:r>
            <a:r>
              <a:rPr kumimoji="0" lang="en-US" sz="10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</a:rPr>
              <a:t>GfK</a:t>
            </a: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	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26081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dustry wise break of Email Volum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837437" y="4897279"/>
            <a:ext cx="48386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</a:rPr>
              <a:t>Source:  www.business2community.com/emailmarketing	</a:t>
            </a: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267902651"/>
              </p:ext>
            </p:extLst>
          </p:nvPr>
        </p:nvGraphicFramePr>
        <p:xfrm>
          <a:off x="0" y="698644"/>
          <a:ext cx="9144000" cy="4444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762593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dustry wise Performance of Marketing Mails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4166637"/>
              </p:ext>
            </p:extLst>
          </p:nvPr>
        </p:nvGraphicFramePr>
        <p:xfrm>
          <a:off x="833458" y="695325"/>
          <a:ext cx="7477084" cy="3749643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4BACC6">
                        <a:tint val="50000"/>
                        <a:satMod val="300000"/>
                      </a:srgbClr>
                    </a:gs>
                    <a:gs pos="35000">
                      <a:srgbClr val="4BACC6">
                        <a:tint val="37000"/>
                        <a:satMod val="300000"/>
                      </a:srgbClr>
                    </a:gs>
                    <a:gs pos="100000">
                      <a:srgbClr val="4BACC6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869271"/>
                <a:gridCol w="1869271"/>
                <a:gridCol w="1869271"/>
                <a:gridCol w="1869271"/>
              </a:tblGrid>
              <a:tr h="277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Industry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Open Rate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Click-Through Rate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Click-To-Open Rate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>
                      <a:noFill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</a:tr>
              <a:tr h="277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B2B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8.7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5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7.8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</a:tr>
              <a:tr h="29217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Consumer Services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2.4%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.0%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5.9%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7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CPG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8.3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.2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2.1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</a:tr>
              <a:tr h="277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Entertainment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9.8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.4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2.2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7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Financial Services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8.0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0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3.7%</a:t>
                      </a:r>
                      <a:endParaRPr lang="en-US" sz="1200" b="1" dirty="0">
                        <a:solidFill>
                          <a:srgbClr val="0070C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</a:tr>
              <a:tr h="277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Healthcare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7.7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3.3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8.8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7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Hospitality/Travel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9.7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.1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0.6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</a:tr>
              <a:tr h="277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Insurance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31.4%</a:t>
                      </a:r>
                      <a:endParaRPr lang="en-US" sz="1200" b="1" dirty="0">
                        <a:solidFill>
                          <a:srgbClr val="0070C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7.6%</a:t>
                      </a:r>
                      <a:endParaRPr lang="en-US" sz="1200" b="1" dirty="0">
                        <a:solidFill>
                          <a:srgbClr val="0070C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4.1%</a:t>
                      </a:r>
                      <a:endParaRPr lang="en-US" sz="1200" b="1" dirty="0">
                        <a:solidFill>
                          <a:srgbClr val="0070C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7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Advertising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9.8%</a:t>
                      </a:r>
                      <a:endParaRPr lang="en-US" sz="1200" b="1" dirty="0">
                        <a:solidFill>
                          <a:srgbClr val="0070C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.7%</a:t>
                      </a:r>
                      <a:endParaRPr lang="en-US" sz="1200" b="1" dirty="0">
                        <a:solidFill>
                          <a:srgbClr val="0070C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7.2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</a:tr>
              <a:tr h="277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Publishing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7.5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.9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6.7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7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Retail/Wholesale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4.0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4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9.8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alpha val="40000"/>
                      </a:srgbClr>
                    </a:solidFill>
                  </a:tcPr>
                </a:tc>
              </a:tr>
              <a:tr h="277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/>
                        <a:t>Technology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0.7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1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5.3%</a:t>
                      </a:r>
                      <a:endParaRPr lang="en-US" sz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BACC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847975" y="4942846"/>
            <a:ext cx="48386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Source: </a:t>
            </a:r>
            <a:r>
              <a:rPr kumimoji="0" lang="en-US" sz="10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</a:rPr>
              <a:t>Yesmail</a:t>
            </a: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 ‘Q1 Email Trends and Benchmarks’ Q1, 2014	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6407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mail vs. Rest: Numbers Game</a:t>
            </a:r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09539400"/>
              </p:ext>
            </p:extLst>
          </p:nvPr>
        </p:nvGraphicFramePr>
        <p:xfrm>
          <a:off x="902262" y="695325"/>
          <a:ext cx="6882275" cy="37868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5540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mail vs. Offline: Comparing Measurability</a:t>
            </a:r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195648977"/>
              </p:ext>
            </p:extLst>
          </p:nvPr>
        </p:nvGraphicFramePr>
        <p:xfrm>
          <a:off x="1146629" y="826476"/>
          <a:ext cx="7072697" cy="36003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89478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Know your instructor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955287" y="1295866"/>
            <a:ext cx="0" cy="2113808"/>
          </a:xfrm>
          <a:prstGeom prst="line">
            <a:avLst/>
          </a:prstGeom>
          <a:ln w="28575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376557" y="3384406"/>
            <a:ext cx="2471418" cy="759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b="1" dirty="0" err="1" smtClean="0">
                <a:solidFill>
                  <a:schemeClr val="accent1"/>
                </a:solidFill>
                <a:latin typeface="Calibri" panose="020F0502020204030204" pitchFamily="34" charset="0"/>
                <a:cs typeface="HP Simplified" pitchFamily="34" charset="0"/>
              </a:rPr>
              <a:t>Rishabh</a:t>
            </a:r>
            <a:r>
              <a:rPr lang="en-US" b="1" dirty="0" smtClean="0">
                <a:solidFill>
                  <a:schemeClr val="accent1"/>
                </a:solidFill>
                <a:latin typeface="Calibri" panose="020F0502020204030204" pitchFamily="34" charset="0"/>
                <a:cs typeface="HP Simplified" pitchFamily="34" charset="0"/>
              </a:rPr>
              <a:t> Garg</a:t>
            </a:r>
            <a:endParaRPr lang="en-US" b="1" dirty="0" smtClean="0">
              <a:solidFill>
                <a:schemeClr val="accent1"/>
              </a:solidFill>
              <a:latin typeface="Calibri" panose="020F0502020204030204" pitchFamily="34" charset="0"/>
              <a:cs typeface="HP Simplified" pitchFamily="34" charset="0"/>
            </a:endParaRPr>
          </a:p>
          <a:p>
            <a:pPr algn="just"/>
            <a:r>
              <a:rPr lang="en-US" sz="1100" b="1" dirty="0">
                <a:latin typeface="Open Sans"/>
              </a:rPr>
              <a:t>Assistant </a:t>
            </a:r>
            <a:r>
              <a:rPr lang="en-US" sz="1100" b="1" dirty="0" smtClean="0">
                <a:latin typeface="Open Sans"/>
              </a:rPr>
              <a:t>VP </a:t>
            </a:r>
            <a:r>
              <a:rPr lang="en-US" sz="1100" b="1" dirty="0">
                <a:latin typeface="Open Sans"/>
              </a:rPr>
              <a:t>of Policy Bazaar </a:t>
            </a:r>
            <a:endParaRPr lang="en-US" sz="1100" dirty="0">
              <a:latin typeface="Open Sans"/>
            </a:endParaRPr>
          </a:p>
          <a:p>
            <a:pPr algn="just"/>
            <a:r>
              <a:rPr lang="en-US" sz="1100" b="1" dirty="0" smtClean="0">
                <a:latin typeface="Open Sans"/>
              </a:rPr>
              <a:t>Ex </a:t>
            </a:r>
            <a:r>
              <a:rPr lang="en-US" sz="1100" b="1" dirty="0">
                <a:latin typeface="Open Sans"/>
              </a:rPr>
              <a:t>Manager at Google</a:t>
            </a:r>
            <a:endParaRPr lang="en-US" sz="1100" dirty="0">
              <a:latin typeface="Open San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04457" y="1381016"/>
            <a:ext cx="603794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200" dirty="0"/>
              <a:t>He has over 5 years of experience in the Digital Marketing  industry. He is currently working with India's leading Online  Insurance Aggregator - Policy Bazaar as an Assistant Vice  President. Prior to that he has worked with Google India as a Product &amp; Solutions Specialist He has conducted trainings on Email Marketing, Social Media Marketing, Mobile Marketing, Search &amp; Display Marketing, App Marketing for over 2 years.</a:t>
            </a:r>
            <a:endParaRPr lang="en-US" sz="1200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988" y="1417638"/>
            <a:ext cx="1839512" cy="1853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41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4310743"/>
            <a:ext cx="9144000" cy="83275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mail vs Social Media </a:t>
            </a:r>
            <a:r>
              <a:rPr lang="en-US" dirty="0" err="1"/>
              <a:t>Marekting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Oval 4" descr="C:\Users\Vijay Kumar\Desktop\Email-marketing.png"/>
          <p:cNvSpPr/>
          <p:nvPr/>
        </p:nvSpPr>
        <p:spPr>
          <a:xfrm>
            <a:off x="2166259" y="753381"/>
            <a:ext cx="4354282" cy="4289872"/>
          </a:xfrm>
          <a:prstGeom prst="ellipse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88900" h="88900"/>
            <a:bevelB w="88900" h="31750" prst="angle"/>
          </a:sp3d>
        </p:spPr>
      </p:sp>
    </p:spTree>
    <p:extLst>
      <p:ext uri="{BB962C8B-B14F-4D97-AF65-F5344CB8AC3E}">
        <p14:creationId xmlns:p14="http://schemas.microsoft.com/office/powerpoint/2010/main" val="40725011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mail vs. Social Media: Comparing CTRs</a:t>
            </a:r>
            <a:endParaRPr lang="en-US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677005929"/>
              </p:ext>
            </p:extLst>
          </p:nvPr>
        </p:nvGraphicFramePr>
        <p:xfrm>
          <a:off x="1556145" y="2456315"/>
          <a:ext cx="5972069" cy="19638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Picture 3" descr="C:\Users\Vijay Kumar\Desktop\thumb_artigo1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3655" y="748620"/>
            <a:ext cx="6096689" cy="1515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2247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mail vs. Rest: Comparing Conversion Rate</a:t>
            </a:r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628443601"/>
              </p:ext>
            </p:extLst>
          </p:nvPr>
        </p:nvGraphicFramePr>
        <p:xfrm>
          <a:off x="889199" y="721927"/>
          <a:ext cx="6908401" cy="37068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024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mail vs. Social Media: Different Purposes</a:t>
            </a:r>
            <a:endParaRPr lang="en-US" dirty="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221500054"/>
              </p:ext>
            </p:extLst>
          </p:nvPr>
        </p:nvGraphicFramePr>
        <p:xfrm>
          <a:off x="163513" y="774246"/>
          <a:ext cx="8472648" cy="37911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" name="Picture 2" descr="Image result for facebook vs twitter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8371" y="2114764"/>
            <a:ext cx="2847975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34615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mail vs. Social Media: Different Purposes</a:t>
            </a:r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125270441"/>
              </p:ext>
            </p:extLst>
          </p:nvPr>
        </p:nvGraphicFramePr>
        <p:xfrm>
          <a:off x="625475" y="231775"/>
          <a:ext cx="7222732" cy="45058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8427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/>
              <a:t>Role of Email in Sales Process 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45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Role of Email in Sales Process </a:t>
            </a:r>
            <a:endParaRPr lang="en-US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161176" y="896287"/>
            <a:ext cx="7886700" cy="4395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28588" indent="-128588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 typeface="Symbol" panose="05050102010706020507" pitchFamily="18" charset="2"/>
              <a:buChar char="®"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585776" indent="-128588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 typeface="Tahoma" panose="020B0604030504040204" pitchFamily="34" charset="0"/>
              <a:buChar char="»"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378" indent="0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566" indent="0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754" indent="0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Tx/>
              <a:buNone/>
              <a:defRPr sz="12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378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bound leads captured by your systems are most valuable for your business</a:t>
            </a:r>
          </a:p>
          <a:p>
            <a:pPr marL="128588" marR="0" lvl="0" indent="-128588" algn="just" defTabSz="914378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®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2111339" y="1573160"/>
            <a:ext cx="4572000" cy="2517058"/>
          </a:xfrm>
          <a:prstGeom prst="round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</a:rPr>
              <a:t>There are multiple ways you build on those leads:</a:t>
            </a:r>
          </a:p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</a:endParaRPr>
          </a:p>
          <a:p>
            <a:pPr marL="342900" marR="0" lvl="1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</a:rPr>
              <a:t>Tele Calling</a:t>
            </a:r>
          </a:p>
          <a:p>
            <a:pPr marL="342900" marR="0" lvl="1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</a:endParaRPr>
          </a:p>
          <a:p>
            <a:pPr marL="342900" marR="0" lvl="1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</a:rPr>
              <a:t>Video Conferencing</a:t>
            </a:r>
          </a:p>
          <a:p>
            <a:pPr marL="342900" marR="0" lvl="1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</a:endParaRPr>
          </a:p>
          <a:p>
            <a:pPr marL="342900" marR="0" lvl="1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</a:rPr>
              <a:t>Setting up meeting in person</a:t>
            </a:r>
          </a:p>
          <a:p>
            <a:pPr marL="342900" marR="0" lvl="1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</a:endParaRPr>
          </a:p>
          <a:p>
            <a:pPr marL="342900" marR="0" lvl="1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</a:rPr>
              <a:t>Staying in touch to nurture the lead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176" y="1737617"/>
            <a:ext cx="1896866" cy="18968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025" y="1910582"/>
            <a:ext cx="2332234" cy="1550935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77051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Role of Email in Sales Process 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955496" y="1147578"/>
            <a:ext cx="5358441" cy="3076943"/>
          </a:xfrm>
          <a:prstGeom prst="roundRect">
            <a:avLst/>
          </a:prstGeom>
          <a:gradFill rotWithShape="1">
            <a:gsLst>
              <a:gs pos="0">
                <a:srgbClr val="00B0F0">
                  <a:tint val="50000"/>
                  <a:satMod val="300000"/>
                </a:srgbClr>
              </a:gs>
              <a:gs pos="35000">
                <a:srgbClr val="00B0F0">
                  <a:tint val="37000"/>
                  <a:satMod val="300000"/>
                </a:srgbClr>
              </a:gs>
              <a:gs pos="100000">
                <a:srgbClr val="00B0F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B0F0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457188" marR="0" lvl="1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mail is not only one of the ways to build on a lead but also plays an importance in other processes as well</a:t>
            </a:r>
          </a:p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1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ual follow up of a Tele Call is sending a mail with quotation or additional information</a:t>
            </a:r>
          </a:p>
          <a:p>
            <a:pPr marL="342900" marR="0" lvl="1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1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fore setting up a meeting in person or through VC, you send a mail to set the right expectations so that the meeting is fruitful</a:t>
            </a:r>
          </a:p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677051" y="2097398"/>
            <a:ext cx="124097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</a:rPr>
              <a:t>Setting Meeting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4317" y="1837790"/>
            <a:ext cx="2363377" cy="220150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7048072" y="2054831"/>
            <a:ext cx="996593" cy="400693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955604" y="2063919"/>
            <a:ext cx="218839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</a:rPr>
              <a:t>Setting the right     expectatio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0216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Role of Email in Sales Process 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0104" y="996808"/>
            <a:ext cx="3589914" cy="3174499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163513" y="841667"/>
            <a:ext cx="4866591" cy="31996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+mn-lt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 defTabSz="914378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r>
              <a:rPr lang="en-US" sz="14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0" dirty="0" smtClean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  About </a:t>
            </a:r>
            <a:r>
              <a:rPr lang="en-US" sz="1400" b="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80% </a:t>
            </a:r>
            <a:r>
              <a:rPr lang="en-US" sz="14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leads that enter your CRM are not sales   qualified </a:t>
            </a:r>
            <a:r>
              <a:rPr lang="en-US" sz="1400" b="0" dirty="0" smtClean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nd </a:t>
            </a:r>
            <a:r>
              <a:rPr lang="en-US" sz="14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require at least 6 to 10 contacts before converting them into a sale</a:t>
            </a:r>
          </a:p>
          <a:p>
            <a:pPr lvl="0" algn="just" defTabSz="914378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endParaRPr lang="en-US" sz="1400" b="0" dirty="0">
              <a:solidFill>
                <a:srgbClr val="26262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 defTabSz="914378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r>
              <a:rPr lang="en-US" sz="1400" b="0" dirty="0" smtClean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  As </a:t>
            </a:r>
            <a:r>
              <a:rPr lang="en-US" sz="14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 business the more you can maximize on these leads higher will be your profitability as significant amount of resources have gone in to generate those leads</a:t>
            </a:r>
          </a:p>
          <a:p>
            <a:pPr lvl="0" algn="just" defTabSz="914378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endParaRPr lang="en-US" sz="1400" b="0" dirty="0">
              <a:solidFill>
                <a:srgbClr val="26262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 defTabSz="914378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r>
              <a:rPr lang="en-US" sz="14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   Nurtured leads through emails result in </a:t>
            </a:r>
            <a:r>
              <a:rPr lang="en-US" sz="1400" b="0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40%</a:t>
            </a:r>
            <a:r>
              <a:rPr lang="en-US" sz="1400" b="0" dirty="0">
                <a:solidFill>
                  <a:srgbClr val="26262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more sales than those that aren’t</a:t>
            </a:r>
          </a:p>
          <a:p>
            <a:pPr lvl="0" algn="just" defTabSz="914378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endParaRPr lang="en-US" sz="1400" b="0" dirty="0">
              <a:solidFill>
                <a:srgbClr val="26262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24560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ertification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3806763" y="868224"/>
            <a:ext cx="35957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Calibri" panose="020F0502020204030204" pitchFamily="34" charset="0"/>
              </a:rPr>
              <a:t>Get Certified in </a:t>
            </a:r>
            <a:r>
              <a:rPr lang="en-US" sz="1400" b="1" dirty="0" smtClean="0">
                <a:latin typeface="Calibri" panose="020F0502020204030204" pitchFamily="34" charset="0"/>
              </a:rPr>
              <a:t>Email Marketing</a:t>
            </a:r>
            <a:r>
              <a:rPr lang="en-US" sz="1400" b="1" dirty="0" smtClean="0">
                <a:latin typeface="Calibri" panose="020F0502020204030204" pitchFamily="34" charset="0"/>
              </a:rPr>
              <a:t> </a:t>
            </a:r>
            <a:r>
              <a:rPr lang="en-US" sz="1400" b="1" dirty="0" smtClean="0">
                <a:latin typeface="Calibri" panose="020F0502020204030204" pitchFamily="34" charset="0"/>
              </a:rPr>
              <a:t>by </a:t>
            </a:r>
            <a:r>
              <a:rPr lang="en-US" sz="1400" b="1" dirty="0" err="1" smtClean="0">
                <a:latin typeface="Calibri" panose="020F0502020204030204" pitchFamily="34" charset="0"/>
              </a:rPr>
              <a:t>Edureka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6" name="Round Diagonal Corner Rectangle 5"/>
          <p:cNvSpPr/>
          <p:nvPr/>
        </p:nvSpPr>
        <p:spPr>
          <a:xfrm>
            <a:off x="368135" y="2796922"/>
            <a:ext cx="8407730" cy="1709923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Edureka'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Email Marketing course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his course will introduce attendees to the world of Email Marketing which Marketers can use to strategize, create, execute and monitor Email Marketing Campaigns successfully</a:t>
            </a:r>
            <a:r>
              <a:rPr lang="en-US" sz="14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nline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ve Courses: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16 hours</a:t>
            </a:r>
            <a:endParaRPr lang="en-US" sz="1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ssignments: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12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ject: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12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611414" y="1358486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latin typeface="Calibri" panose="020F0502020204030204" pitchFamily="34" charset="0"/>
              </a:rPr>
              <a:t>www.edureka.co/email-marketing </a:t>
            </a:r>
            <a:endParaRPr lang="en-US" sz="2000" b="1" dirty="0"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386939" y="2016653"/>
            <a:ext cx="4227616" cy="5745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b="1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</a:t>
            </a:r>
            <a:r>
              <a:rPr lang="en-US" sz="1400" b="1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17</a:t>
            </a:r>
            <a:r>
              <a:rPr lang="en-US" sz="1400" b="1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 </a:t>
            </a:r>
            <a:r>
              <a:rPr lang="en-US" sz="1400" b="1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October (</a:t>
            </a:r>
            <a:r>
              <a:rPr lang="en-US" sz="1400" b="1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Weekend </a:t>
            </a:r>
            <a:r>
              <a:rPr lang="en-US" sz="1400" b="1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</a:t>
            </a:r>
            <a:r>
              <a:rPr lang="en-US" sz="1400" b="1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)</a:t>
            </a:r>
          </a:p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b="1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Time: 8:00PM to 10:00 PM</a:t>
            </a:r>
            <a:endParaRPr lang="en-US" sz="1400" b="1" i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pic>
        <p:nvPicPr>
          <p:cNvPr id="9" name="Picture 8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3080806" y="694965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0600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at will you learn today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20675" y="979834"/>
            <a:ext cx="8278244" cy="3191082"/>
          </a:xfrm>
        </p:spPr>
        <p:txBody>
          <a:bodyPr/>
          <a:lstStyle/>
          <a:p>
            <a:r>
              <a:rPr lang="en-US" dirty="0" smtClean="0"/>
              <a:t>Let us have a quick poll, do you know the following topics? </a:t>
            </a:r>
            <a:endParaRPr lang="en-US" dirty="0" smtClean="0"/>
          </a:p>
          <a:p>
            <a:endParaRPr lang="en-US" dirty="0" smtClean="0"/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b="0" dirty="0" smtClean="0"/>
              <a:t>Email </a:t>
            </a:r>
            <a:r>
              <a:rPr lang="en-US" sz="1600" b="0" dirty="0"/>
              <a:t>Marketing Facts &amp; Key Metrics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b="0" dirty="0"/>
              <a:t>Email Marketing: Why it should matter to You?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b="0" dirty="0"/>
              <a:t>Performance on 3 R’s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b="0" dirty="0" smtClean="0"/>
              <a:t>Comparison </a:t>
            </a:r>
            <a:r>
              <a:rPr lang="en-US" sz="1600" b="0" dirty="0"/>
              <a:t>with other Marketing Channels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b="0" dirty="0"/>
              <a:t>Role of Email in Sales Process </a:t>
            </a:r>
            <a:endParaRPr lang="en-US" sz="1600" b="0" dirty="0"/>
          </a:p>
        </p:txBody>
      </p:sp>
      <p:sp>
        <p:nvSpPr>
          <p:cNvPr id="5" name="Oval 4"/>
          <p:cNvSpPr/>
          <p:nvPr/>
        </p:nvSpPr>
        <p:spPr>
          <a:xfrm>
            <a:off x="6400800" y="13810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14801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36" y="23505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041" y="23505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31788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355576" y="22348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329545" y="13003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113" y="23482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Questions/Queries/Feedback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bg1"/>
                </a:solidFill>
              </a:rPr>
              <a:t>Amazing Facts About Email Marketing</a:t>
            </a:r>
            <a:endParaRPr lang="en-US" sz="4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203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Facts</a:t>
            </a:r>
            <a:endParaRPr lang="en-US" dirty="0"/>
          </a:p>
        </p:txBody>
      </p:sp>
      <p:sp>
        <p:nvSpPr>
          <p:cNvPr id="5" name="Flowchart: Connector 4"/>
          <p:cNvSpPr/>
          <p:nvPr/>
        </p:nvSpPr>
        <p:spPr>
          <a:xfrm>
            <a:off x="3236359" y="857250"/>
            <a:ext cx="2671282" cy="2748979"/>
          </a:xfrm>
          <a:prstGeom prst="flowChartConnector">
            <a:avLst/>
          </a:prstGeom>
          <a:solidFill>
            <a:srgbClr val="37C1FF"/>
          </a:solidFill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sp>
        <p:nvSpPr>
          <p:cNvPr id="6" name="Flowchart: Connector 5"/>
          <p:cNvSpPr/>
          <p:nvPr/>
        </p:nvSpPr>
        <p:spPr>
          <a:xfrm>
            <a:off x="3791163" y="1387011"/>
            <a:ext cx="1561673" cy="1664414"/>
          </a:xfrm>
          <a:prstGeom prst="flowChartConnector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3932732" y="1762720"/>
            <a:ext cx="14486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 smtClean="0">
                <a:ln w="12700">
                  <a:solidFill>
                    <a:schemeClr val="accent1"/>
                  </a:solidFill>
                  <a:prstDash val="solid"/>
                </a:ln>
                <a:effectLst>
                  <a:outerShdw dist="38100" dir="2640000" algn="bl" rotWithShape="0">
                    <a:schemeClr val="accent1"/>
                  </a:outerShdw>
                </a:effectLst>
              </a:rPr>
              <a:t>48%</a:t>
            </a:r>
            <a:endParaRPr lang="en-US" sz="5400" b="1" dirty="0">
              <a:ln w="12700">
                <a:solidFill>
                  <a:schemeClr val="accent1"/>
                </a:solidFill>
                <a:prstDash val="solid"/>
              </a:ln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70385" y="3614473"/>
            <a:ext cx="60711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/>
              <a:t>Percentage of consumers who prefer to communicate with brands via EMAIL</a:t>
            </a:r>
            <a:endParaRPr lang="en-US" sz="280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086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owchart: Connector 6"/>
          <p:cNvSpPr/>
          <p:nvPr/>
        </p:nvSpPr>
        <p:spPr>
          <a:xfrm>
            <a:off x="3236359" y="857250"/>
            <a:ext cx="2671282" cy="2748979"/>
          </a:xfrm>
          <a:prstGeom prst="flowChartConnector">
            <a:avLst/>
          </a:prstGeom>
          <a:solidFill>
            <a:srgbClr val="37C1FF"/>
          </a:solidFill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lowchart: Connector 7"/>
          <p:cNvSpPr/>
          <p:nvPr/>
        </p:nvSpPr>
        <p:spPr>
          <a:xfrm>
            <a:off x="3791163" y="1378394"/>
            <a:ext cx="1561673" cy="1664414"/>
          </a:xfrm>
          <a:prstGeom prst="flowChartConnector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4036907" y="1482033"/>
            <a:ext cx="1448656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 smtClean="0">
                <a:ln w="12700">
                  <a:solidFill>
                    <a:schemeClr val="accent1"/>
                  </a:solidFill>
                  <a:prstDash val="solid"/>
                </a:ln>
                <a:effectLst>
                  <a:outerShdw dist="38100" dir="2640000" algn="bl" rotWithShape="0">
                    <a:schemeClr val="accent1"/>
                  </a:outerShdw>
                </a:effectLst>
              </a:rPr>
              <a:t>  3</a:t>
            </a:r>
          </a:p>
          <a:p>
            <a:r>
              <a:rPr lang="en-US" sz="3200" b="1" dirty="0" smtClean="0">
                <a:ln w="12700">
                  <a:solidFill>
                    <a:schemeClr val="accent1"/>
                  </a:solidFill>
                  <a:prstDash val="solid"/>
                </a:ln>
                <a:effectLst>
                  <a:outerShdw dist="38100" dir="2640000" algn="bl" rotWithShape="0">
                    <a:schemeClr val="accent1"/>
                  </a:outerShdw>
                </a:effectLst>
              </a:rPr>
              <a:t>times</a:t>
            </a:r>
            <a:endParaRPr lang="en-US" sz="3200" b="1" dirty="0">
              <a:ln w="12700">
                <a:solidFill>
                  <a:schemeClr val="accent1"/>
                </a:solidFill>
                <a:prstDash val="solid"/>
              </a:ln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860698" y="3672533"/>
            <a:ext cx="542260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/>
              <a:t>MORE customers than Twitter and Facebook COMBINED </a:t>
            </a:r>
            <a:endParaRPr lang="en-US" sz="2800" b="1" dirty="0"/>
          </a:p>
        </p:txBody>
      </p:sp>
      <p:sp>
        <p:nvSpPr>
          <p:cNvPr id="11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3" y="96838"/>
            <a:ext cx="7239000" cy="442912"/>
          </a:xfrm>
        </p:spPr>
        <p:txBody>
          <a:bodyPr/>
          <a:lstStyle/>
          <a:p>
            <a:r>
              <a:rPr lang="en-US" dirty="0" smtClean="0"/>
              <a:t>Facts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568950" y="4605338"/>
            <a:ext cx="3473450" cy="288925"/>
          </a:xfrm>
        </p:spPr>
        <p:txBody>
          <a:bodyPr/>
          <a:lstStyle/>
          <a:p>
            <a:r>
              <a:rPr lang="en-US" dirty="0" smtClean="0"/>
              <a:t>www.edureka.co/email-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45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mail Marketing: Why it should matter to You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2" descr="Displaying shutterstock_12613309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094"/>
            <a:ext cx="9143999" cy="4465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861353" y="1058237"/>
            <a:ext cx="3133618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Font typeface="Wingdings" panose="05000000000000000000" pitchFamily="2" charset="2"/>
              <a:buChar char="Ø"/>
            </a:pPr>
            <a:r>
              <a:rPr lang="en-IN" sz="14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dds value to your sales and service of your </a:t>
            </a:r>
            <a:r>
              <a:rPr lang="en-IN" sz="1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usiness</a:t>
            </a: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en-IN" sz="1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mail plays a key role in every goal for your </a:t>
            </a:r>
            <a:r>
              <a:rPr lang="en-US" sz="1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rganization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nsures your Business </a:t>
            </a:r>
            <a:r>
              <a:rPr lang="en-US" sz="1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trategy </a:t>
            </a:r>
            <a:r>
              <a:rPr lang="en-US" sz="14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s aligned </a:t>
            </a:r>
            <a:endParaRPr lang="en-US" sz="1400" b="1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en-US" sz="1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mail enables you to test, promote teaser, generate hype 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en-US" sz="1400" b="1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en-IN" sz="1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400" b="1" dirty="0" smtClean="0">
              <a:solidFill>
                <a:schemeClr val="bg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400" b="1" dirty="0">
              <a:solidFill>
                <a:schemeClr val="bg1"/>
              </a:solidFill>
            </a:endParaRP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en-IN" sz="1400" b="1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en-IN" sz="1400" b="1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en-IN" sz="1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en-IN" sz="1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3908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b="1" dirty="0" smtClean="0"/>
          </a:p>
          <a:p>
            <a:pPr algn="ctr"/>
            <a:r>
              <a:rPr lang="en-US" sz="4800" b="1" dirty="0" smtClean="0"/>
              <a:t>Performance </a:t>
            </a:r>
            <a:r>
              <a:rPr lang="en-US" sz="4800" b="1" dirty="0"/>
              <a:t>on 3 R’s</a:t>
            </a:r>
          </a:p>
          <a:p>
            <a:pPr algn="ctr"/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erformance on 3 R’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369" y="490201"/>
            <a:ext cx="4388631" cy="4163786"/>
          </a:xfrm>
          <a:prstGeom prst="rect">
            <a:avLst/>
          </a:prstGeom>
        </p:spPr>
      </p:pic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3724641155"/>
              </p:ext>
            </p:extLst>
          </p:nvPr>
        </p:nvGraphicFramePr>
        <p:xfrm>
          <a:off x="5041899" y="695325"/>
          <a:ext cx="3348961" cy="37242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4557403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Fresh">
    <a:dk1>
      <a:srgbClr val="262626"/>
    </a:dk1>
    <a:lt1>
      <a:sysClr val="window" lastClr="FFFFFF"/>
    </a:lt1>
    <a:dk2>
      <a:srgbClr val="595959"/>
    </a:dk2>
    <a:lt2>
      <a:srgbClr val="EEECE1"/>
    </a:lt2>
    <a:accent1>
      <a:srgbClr val="F4891E"/>
    </a:accent1>
    <a:accent2>
      <a:srgbClr val="7BCF27"/>
    </a:accent2>
    <a:accent3>
      <a:srgbClr val="9BBB59"/>
    </a:accent3>
    <a:accent4>
      <a:srgbClr val="00B0F0"/>
    </a:accent4>
    <a:accent5>
      <a:srgbClr val="4BACC6"/>
    </a:accent5>
    <a:accent6>
      <a:srgbClr val="F79646"/>
    </a:accent6>
    <a:hlink>
      <a:srgbClr val="00B0F0"/>
    </a:hlink>
    <a:folHlink>
      <a:srgbClr val="F4891E"/>
    </a:folHlink>
  </a:clrScheme>
  <a:fontScheme name="Custom 7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Fresh">
    <a:dk1>
      <a:srgbClr val="262626"/>
    </a:dk1>
    <a:lt1>
      <a:sysClr val="window" lastClr="FFFFFF"/>
    </a:lt1>
    <a:dk2>
      <a:srgbClr val="595959"/>
    </a:dk2>
    <a:lt2>
      <a:srgbClr val="EEECE1"/>
    </a:lt2>
    <a:accent1>
      <a:srgbClr val="F4891E"/>
    </a:accent1>
    <a:accent2>
      <a:srgbClr val="7BCF27"/>
    </a:accent2>
    <a:accent3>
      <a:srgbClr val="9BBB59"/>
    </a:accent3>
    <a:accent4>
      <a:srgbClr val="00B0F0"/>
    </a:accent4>
    <a:accent5>
      <a:srgbClr val="4BACC6"/>
    </a:accent5>
    <a:accent6>
      <a:srgbClr val="F79646"/>
    </a:accent6>
    <a:hlink>
      <a:srgbClr val="00B0F0"/>
    </a:hlink>
    <a:folHlink>
      <a:srgbClr val="F4891E"/>
    </a:folHlink>
  </a:clrScheme>
  <a:fontScheme name="Custom 7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637</TotalTime>
  <Words>1258</Words>
  <Application>Microsoft Office PowerPoint</Application>
  <PresentationFormat>On-screen Show (16:9)</PresentationFormat>
  <Paragraphs>307</Paragraphs>
  <Slides>3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6" baseType="lpstr">
      <vt:lpstr>Calibri</vt:lpstr>
      <vt:lpstr>Symbol</vt:lpstr>
      <vt:lpstr>Wingdings</vt:lpstr>
      <vt:lpstr>Arial</vt:lpstr>
      <vt:lpstr>Futura Bk</vt:lpstr>
      <vt:lpstr>Lucida Grande</vt:lpstr>
      <vt:lpstr>Futura Hv</vt:lpstr>
      <vt:lpstr>HP Simplified</vt:lpstr>
      <vt:lpstr>Open Sans</vt:lpstr>
      <vt:lpstr>Courier New</vt:lpstr>
      <vt:lpstr>Tahoma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itish J</dc:creator>
  <cp:lastModifiedBy>Pritish J</cp:lastModifiedBy>
  <cp:revision>15</cp:revision>
  <cp:lastPrinted>2012-04-13T15:38:33Z</cp:lastPrinted>
  <dcterms:created xsi:type="dcterms:W3CDTF">2012-05-02T14:03:12Z</dcterms:created>
  <dcterms:modified xsi:type="dcterms:W3CDTF">2015-10-12T13:47:37Z</dcterms:modified>
</cp:coreProperties>
</file>